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3" r:id="rId5"/>
    <p:sldMasterId id="2147483717" r:id="rId6"/>
  </p:sldMasterIdLst>
  <p:notesMasterIdLst>
    <p:notesMasterId r:id="rId16"/>
  </p:notesMasterIdLst>
  <p:sldIdLst>
    <p:sldId id="359" r:id="rId7"/>
    <p:sldId id="2147483512" r:id="rId8"/>
    <p:sldId id="2147483507" r:id="rId9"/>
    <p:sldId id="2147483508" r:id="rId10"/>
    <p:sldId id="2147483509" r:id="rId11"/>
    <p:sldId id="2147483506" r:id="rId12"/>
    <p:sldId id="2147483458" r:id="rId13"/>
    <p:sldId id="2147483513" r:id="rId14"/>
    <p:sldId id="2147483511" r:id="rId15"/>
  </p:sldIdLst>
  <p:sldSz cx="12192000" cy="6858000"/>
  <p:notesSz cx="6808788" cy="994092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FE309E4-7EDF-4697-A4C3-B8411D09C821}">
          <p14:sldIdLst>
            <p14:sldId id="359"/>
            <p14:sldId id="2147483512"/>
            <p14:sldId id="2147483507"/>
            <p14:sldId id="2147483508"/>
            <p14:sldId id="2147483509"/>
            <p14:sldId id="2147483506"/>
            <p14:sldId id="2147483458"/>
            <p14:sldId id="2147483513"/>
            <p14:sldId id="2147483511"/>
          </p14:sldIdLst>
        </p14:section>
        <p14:section name="Talking Points" id="{1CF2B21E-792E-496D-BBC0-222DBE043A1F}">
          <p14:sldIdLst/>
        </p14:section>
      </p14:section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B58AD0D-8D0A-BDF9-9FA2-9FC1BB6AD615}" name="des Forges, Samantha SCS (People-CEJ-D)" initials="dFSS(CD" userId="S::Samantha.Desforges100@mod.gov.uk::6e294967-3cf2-4a6f-a289-713c78239bf5" providerId="AD"/>
  <p188:author id="{4F337E15-54D5-15D5-BF2C-4EC1975E7598}" name="Laurence Kerwin" initials="" userId="S::Laurence.S.Kerwin@uk.ey.com::93f932ca-6ba6-4300-8eeb-b31fd38dcee3" providerId="AD"/>
  <p188:author id="{A351151E-1ADB-A377-0438-95C800BADAB6}" name="Craggs, Lizzie CON (People-Strat-PFOM-Con2)" initials="LC" userId="S::Lizzie.Craggs102@mod.gov.uk::556d362b-e1a1-4b06-a38f-e15c80da1e38" providerId="AD"/>
  <p188:author id="{AE182424-AA9A-B10D-4730-4B5BAB2CB322}" name="Austen, Emma SCS (People-DDS-Director)" initials="A(" userId="S::emma.austen100@mod.gov.uk::3e81cde5-ef0c-420c-bac0-bce9b44e3660" providerId="AD"/>
  <p188:author id="{57AEBC34-7255-44B9-797F-C8305225E59B}" name="Malpeli, James B1 (People-CivHR-CPPT-Hd4)" initials="M(" userId="S::james.malpeli100@mod.gov.uk::9dd0fb58-9bd2-48c1-b5f3-b1ffb413e90e" providerId="AD"/>
  <p188:author id="{EC2F624F-E7CD-5850-BBDD-F1136F9C2A79}" name="Miller, Rose B1 (People-CivHR-CPPT-Hd5)" initials="RM" userId="S::Rose.Miller308@mod.gov.uk::a0db34a5-4d09-40e2-b583-569ace4677fa" providerId="AD"/>
  <p188:author id="{8354665F-6E0C-4735-66EB-1AF6A923077E}" name="des Forges, Samantha SCS (People-CEJ-D)" initials="d(" userId="S::samantha.desforges100@mod.gov.uk::6e294967-3cf2-4a6f-a289-713c78239bf5" providerId="AD"/>
  <p188:author id="{345ECD6A-8AC2-6204-EA8D-D29703657121}" name="Haslam-Greene, Harriet CON (People-Tx-LdCon3)" initials="HH" userId="S::Harriet.Haslam-Greene100@mod.gov.uk::0c6a9057-6762-4e9d-b744-589416214c2b" providerId="AD"/>
  <p188:author id="{3B0E9F9F-5E71-1254-73E6-2E3FEA0279C9}" name="Johnny Kersse" initials="JK" userId="S::Johnny.Kersse@uk.ey.com::4fa9ed59-a5fd-4cb3-9043-07f125930c02" providerId="AD"/>
  <p188:author id="{62DED2AA-42A0-3D1E-16C2-C9531CEF3522}" name="Economou, Mia SCS1 (People-VALOUR-Plans-Hd)" initials="E(" userId="S::mia.economou100@mod.gov.uk::da3c5686-076e-41d6-975d-45e977acb92b" providerId="AD"/>
  <p188:author id="{F73B41AB-8C61-F867-3F50-3D7AD335AD29}" name="Wilson, Ian Lt Cdr (People-PCD-MilPolOpti-6)" initials="IW" userId="S::Ian.Wilson550@mod.gov.uk::3fc0f084-927a-44d8-a6b5-606ecc6475bc" providerId="AD"/>
  <p188:author id="{B2D97EB1-8DC1-94F3-76A5-AD72018A4C18}" name="Katharine Broderick" initials="" userId="S::Katharine.Broderick@uk.ey.com::154171f5-0069-40ea-a39a-97fe0ce8a3f0" providerId="AD"/>
  <p188:author id="{6A18ECB6-599B-C6A7-DBFB-6FAE56A5AA13}" name="Houghton, Sarah Miss (People-AFPPol-Dir B)" initials="SH" userId="S::Sarah.Houghton352@mod.gov.uk::348af570-f036-4ac2-aa0e-2ab0d2da0599" providerId="AD"/>
  <p188:author id="{1DE70DC7-6CBC-6A2C-2170-1115A13C93CD}" name="Economou, Mia SCS1 (People-VALOUR-Plans-Hd)" initials="ME" userId="S::Mia.Economou100@mod.gov.uk::da3c5686-076e-41d6-975d-45e977acb92b" providerId="AD"/>
  <p188:author id="{6BD78ED3-EC04-9823-D138-7103CCB544BB}" name="Pyman, Christopher Maj (People-Tx-Transformation SO2)" initials="CP" userId="S::Christopher.Pyman100@mod.gov.uk::5974339e-ec34-449e-baae-9bb1bbc3a51e" providerId="AD"/>
  <p188:author id="{3A567AF2-F08E-26C6-90CB-1E3216CF8E61}" name="Broderick, Katharine Con (People-TX-LdCon4)" initials="KB" userId="S::Katharine.Broderick100@mod.gov.uk::8ef754c4-c719-49ed-97d5-939e36ded482" providerId="AD"/>
  <p188:author id="{98ECBBF8-2BCF-B284-C4D2-01DF365E389E}" name="Fitzharris, Jessica B1 (People-CivHR-CPPT-Hd3)" initials="JF" userId="S::Jessica.Fitzharris100@mod.gov.uk::222cfd0c-c9d0-40ac-ab7d-5d9168d4773e" providerId="AD"/>
  <p188:author id="{198466F9-8341-DB69-C765-A5AF8389DDA8}" name="Hattie Haslam-Greene" initials="HH" userId="S::Hattie.Haslam-Greene@uk.ey.com::be06a993-c8cc-47b4-bde2-c2b8d0b9b2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7C9C"/>
    <a:srgbClr val="57263B"/>
    <a:srgbClr val="2DD573"/>
    <a:srgbClr val="CEF6E2"/>
    <a:srgbClr val="FFFFFF"/>
    <a:srgbClr val="74D1F6"/>
    <a:srgbClr val="26D0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65528D2-F3AE-F579-F8B1-4EB7C737A700}" v="3" dt="2026-01-26T12:28:10.540"/>
    <p1510:client id="{F1226CD8-54CC-4ACB-AAF8-3C5B3EF0AF1F}" v="738" dt="2026-01-26T20:10:48.4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8FB4AC-9F37-4737-AFB9-947C9942E57F}" type="datetimeFigureOut">
              <a:rPr lang="en-GB" smtClean="0"/>
              <a:t>26/01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727A0B-74E4-4439-A91A-195AF005D2B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76651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40DFBB-DAEA-970E-F8C2-A5C043E423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DC98BD-28B7-5148-EE2F-D18A014718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2B459E-9762-DCA3-0BBB-9269878DD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hat will the tools allow us to do?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65EDA-51BA-6FA6-750F-E3FCC42FDC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634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6DB37F-24FD-46A9-C279-ECA283F1F6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A868C5-5DE3-EA85-C7E1-E585C6368D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50CAB3-FCE2-0378-9AB0-2A3E0180E1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hat will the tools allow us to do?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CA28FD-F359-A1AE-1210-704B51CC68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0755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059DB1-8F04-4F2B-CE8E-06A9BD2F01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5D6BC6-F19B-D01F-3D87-FF688AF371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20DD3D-41D2-6FDB-AFED-6DEABF3F07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hat will the tools allow us to do?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4CC4F-13FF-C6DA-894C-D288120159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4263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33FF55-21D1-CDE3-DF34-A92A96D8BE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564E0B-AC6A-8626-4F43-763DF29851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76FB8C-1E54-A2D1-FAB8-E77978651D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hat will the tools allow us to do?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663C9F-AA5D-81B7-183C-071E994CD3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75937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4B738B-848D-119B-2A15-D0E46228C6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50BF59-B2CC-3746-7300-1FE7218640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0A49D0-07B0-7156-6CAF-09C8059F05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hat will the tools allow us to do?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46ACF-EF7A-C458-5226-8345ABFE4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19266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BAFBD2-C767-C407-48DF-04DD801087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4CAA28-8C3C-BAB4-F61E-4466C399FB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FE8CF0-5CC4-0A0B-2C11-0394831865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hree key interlinked change programmes.</a:t>
            </a:r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822E48-6326-403D-47B7-C90DAB7B44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27A0B-74E4-4439-A91A-195AF005D2B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62456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7C7AC7-71BD-A6D1-1961-5481F615E3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67F8B7-520B-65AB-6B7B-2A39E66271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869ACA-2762-7F51-47C8-822AD1F03D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hat will the tools allow us to do?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840AEB-8023-A2A1-12E6-888FDEDF2B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74881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27A0B-74E4-4439-A91A-195AF005D2B2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40463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 only slide, on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E89F6-F277-4999-9350-AC7830201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xt only slide, one column 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D3A3D7-A9A3-4FB2-8C17-05FD6FA5A3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01B2B2-3B32-4177-9645-58C2813D6AA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784B00-AE80-4F8B-8B2E-40C47D8F9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000" y="6588001"/>
            <a:ext cx="3754800" cy="160950"/>
          </a:xfrm>
        </p:spPr>
        <p:txBody>
          <a:bodyPr/>
          <a:lstStyle/>
          <a:p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D6823D8-A9ED-4BF0-8B55-6F2706AE49AE}"/>
              </a:ext>
            </a:extLst>
          </p:cNvPr>
          <p:cNvCxnSpPr/>
          <p:nvPr userDrawn="1"/>
        </p:nvCxnSpPr>
        <p:spPr>
          <a:xfrm>
            <a:off x="-1" y="6426000"/>
            <a:ext cx="12192002" cy="0"/>
          </a:xfrm>
          <a:prstGeom prst="line">
            <a:avLst/>
          </a:prstGeom>
          <a:ln w="139700">
            <a:solidFill>
              <a:srgbClr val="5726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8B6322-5B94-40B6-87F6-27D31D3B8B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43665" y="6588002"/>
            <a:ext cx="2352675" cy="16033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pPr lvl="0"/>
            <a:r>
              <a:rPr lang="en-US"/>
              <a:t>Enter security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1619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 with filled background">
    <p:bg>
      <p:bgPr>
        <a:solidFill>
          <a:srgbClr val="124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D3A3D7-A9A3-4FB2-8C17-05FD6FA5A3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01B2B2-3B32-4177-9645-58C2813D6AA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784B00-AE80-4F8B-8B2E-40C47D8F9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000" y="6588001"/>
            <a:ext cx="3754800" cy="1609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D6823D8-A9ED-4BF0-8B55-6F2706AE49AE}"/>
              </a:ext>
            </a:extLst>
          </p:cNvPr>
          <p:cNvCxnSpPr/>
          <p:nvPr userDrawn="1"/>
        </p:nvCxnSpPr>
        <p:spPr>
          <a:xfrm>
            <a:off x="-1" y="6426000"/>
            <a:ext cx="12192002" cy="0"/>
          </a:xfrm>
          <a:prstGeom prst="line">
            <a:avLst/>
          </a:prstGeom>
          <a:ln w="139700">
            <a:solidFill>
              <a:srgbClr val="26D0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FFB1CF6-FC8A-4596-8713-12F47D843C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43665" y="6588002"/>
            <a:ext cx="2352675" cy="160338"/>
          </a:xfrm>
        </p:spPr>
        <p:txBody>
          <a:bodyPr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nter security level</a:t>
            </a:r>
            <a:endParaRPr lang="en-GB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FAADC92C-307C-430A-973B-E7261C4B1A1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9662" y="432001"/>
            <a:ext cx="3765141" cy="3568426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E0A64D-15EE-20C7-7EAA-713BFF2CEA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6900" y="4602163"/>
            <a:ext cx="6165850" cy="688975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rgbClr val="2DD573"/>
                </a:solidFill>
              </a:defRPr>
            </a:lvl2pPr>
            <a:lvl3pPr>
              <a:defRPr>
                <a:solidFill>
                  <a:srgbClr val="2DD573"/>
                </a:solidFill>
              </a:defRPr>
            </a:lvl3pPr>
            <a:lvl4pPr>
              <a:defRPr>
                <a:solidFill>
                  <a:srgbClr val="2DD573"/>
                </a:solidFill>
              </a:defRPr>
            </a:lvl4pPr>
            <a:lvl5pPr>
              <a:defRPr>
                <a:solidFill>
                  <a:srgbClr val="2DD573"/>
                </a:solidFill>
              </a:defRPr>
            </a:lvl5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097451B-F135-6EB5-AFF9-ADEA02CBB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6900" y="2623074"/>
            <a:ext cx="6165851" cy="10395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13">
            <a:extLst>
              <a:ext uri="{FF2B5EF4-FFF2-40B4-BE49-F238E27FC236}">
                <a16:creationId xmlns:a16="http://schemas.microsoft.com/office/drawing/2014/main" id="{A85BF022-1794-13D4-1AF7-C861F42102E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930274" y="0"/>
            <a:ext cx="5191125" cy="6351588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4440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9819CB-DA27-6FFA-25F9-0B075F03F1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CA88C1-5B59-1ABA-1A58-4279A041C4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77B9A5-AFF6-0DD9-180E-7DE91A5EF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DF12-C4FB-4111-8AAA-FFC7818A8EED}" type="datetimeFigureOut">
              <a:rPr lang="en-GB" smtClean="0"/>
              <a:t>26/01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89DFA3-0ACB-3F33-FCDA-3FB011E7E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26F3F9-51CB-EA45-E132-25105E8EC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AB314-FF54-43F9-99CC-F75B527E9CD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86515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 slide 1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CAB38C-5F38-4824-BA5B-9B6A2BB378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xt only slide – 1 column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0000" y="2160000"/>
            <a:ext cx="11484000" cy="3636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C01B2B2-3B32-4177-9645-58C2813D6AA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76FBBB2-3840-D506-DDA0-B772E577BDDB}"/>
              </a:ext>
            </a:extLst>
          </p:cNvPr>
          <p:cNvSpPr txBox="1">
            <a:spLocks/>
          </p:cNvSpPr>
          <p:nvPr userDrawn="1"/>
        </p:nvSpPr>
        <p:spPr>
          <a:xfrm>
            <a:off x="4006701" y="654110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094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C338A7E-42A5-538F-FEB5-7E3AB2F6899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56381" y="924560"/>
            <a:ext cx="11679238" cy="5431792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24BB2D54-F9B0-C74A-DDA6-8E2D94F5FF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88000"/>
            <a:ext cx="165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Vision Acceleration Session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DFD486A8-0CB3-E661-9832-9166067CA14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800000" y="6588000"/>
            <a:ext cx="1080000" cy="180000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5C01B2B2-3B32-4177-9645-58C2813D6AA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D873C006-5ECE-B957-D572-FFAA9AA53065}"/>
              </a:ext>
            </a:extLst>
          </p:cNvPr>
          <p:cNvSpPr txBox="1">
            <a:spLocks/>
          </p:cNvSpPr>
          <p:nvPr userDrawn="1"/>
        </p:nvSpPr>
        <p:spPr>
          <a:xfrm>
            <a:off x="5718000" y="6588000"/>
            <a:ext cx="75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pt-PT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14790487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9AF2E3-B972-4B60-BA2F-7432849899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01B2B2-3B32-4177-9645-58C2813D6AA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82BCC-D1D3-438F-947C-418C9FC99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Isosceles Triangle 1">
            <a:extLst>
              <a:ext uri="{FF2B5EF4-FFF2-40B4-BE49-F238E27FC236}">
                <a16:creationId xmlns:a16="http://schemas.microsoft.com/office/drawing/2014/main" id="{CD2EA0F6-25DE-44F5-BA72-78DFE610373F}"/>
              </a:ext>
            </a:extLst>
          </p:cNvPr>
          <p:cNvSpPr/>
          <p:nvPr userDrawn="1"/>
        </p:nvSpPr>
        <p:spPr>
          <a:xfrm rot="5400000">
            <a:off x="-21839" y="18614"/>
            <a:ext cx="4601603" cy="4557925"/>
          </a:xfrm>
          <a:custGeom>
            <a:avLst/>
            <a:gdLst>
              <a:gd name="connsiteX0" fmla="*/ 0 w 4554419"/>
              <a:gd name="connsiteY0" fmla="*/ 4572000 h 4572000"/>
              <a:gd name="connsiteX1" fmla="*/ 2277210 w 4554419"/>
              <a:gd name="connsiteY1" fmla="*/ 0 h 4572000"/>
              <a:gd name="connsiteX2" fmla="*/ 4554419 w 4554419"/>
              <a:gd name="connsiteY2" fmla="*/ 4572000 h 4572000"/>
              <a:gd name="connsiteX3" fmla="*/ 0 w 4554419"/>
              <a:gd name="connsiteY3" fmla="*/ 4572000 h 4572000"/>
              <a:gd name="connsiteX0" fmla="*/ 0 w 4554419"/>
              <a:gd name="connsiteY0" fmla="*/ 5187465 h 5187465"/>
              <a:gd name="connsiteX1" fmla="*/ 17587 w 4554419"/>
              <a:gd name="connsiteY1" fmla="*/ 0 h 5187465"/>
              <a:gd name="connsiteX2" fmla="*/ 4554419 w 4554419"/>
              <a:gd name="connsiteY2" fmla="*/ 5187465 h 5187465"/>
              <a:gd name="connsiteX3" fmla="*/ 0 w 4554419"/>
              <a:gd name="connsiteY3" fmla="*/ 5187465 h 5187465"/>
              <a:gd name="connsiteX0" fmla="*/ 0 w 4554419"/>
              <a:gd name="connsiteY0" fmla="*/ 4563211 h 4563211"/>
              <a:gd name="connsiteX1" fmla="*/ 8795 w 4554419"/>
              <a:gd name="connsiteY1" fmla="*/ 0 h 4563211"/>
              <a:gd name="connsiteX2" fmla="*/ 4554419 w 4554419"/>
              <a:gd name="connsiteY2" fmla="*/ 4563211 h 4563211"/>
              <a:gd name="connsiteX3" fmla="*/ 0 w 4554419"/>
              <a:gd name="connsiteY3" fmla="*/ 4563211 h 4563211"/>
              <a:gd name="connsiteX0" fmla="*/ 3194 w 4557613"/>
              <a:gd name="connsiteY0" fmla="*/ 4557925 h 4557925"/>
              <a:gd name="connsiteX1" fmla="*/ 1519 w 4557613"/>
              <a:gd name="connsiteY1" fmla="*/ 0 h 4557925"/>
              <a:gd name="connsiteX2" fmla="*/ 4557613 w 4557613"/>
              <a:gd name="connsiteY2" fmla="*/ 4557925 h 4557925"/>
              <a:gd name="connsiteX3" fmla="*/ 3194 w 4557613"/>
              <a:gd name="connsiteY3" fmla="*/ 4557925 h 45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7613" h="4557925">
                <a:moveTo>
                  <a:pt x="3194" y="4557925"/>
                </a:moveTo>
                <a:cubicBezTo>
                  <a:pt x="9056" y="2828770"/>
                  <a:pt x="-4343" y="1729155"/>
                  <a:pt x="1519" y="0"/>
                </a:cubicBezTo>
                <a:lnTo>
                  <a:pt x="4557613" y="4557925"/>
                </a:lnTo>
                <a:lnTo>
                  <a:pt x="3194" y="4557925"/>
                </a:lnTo>
                <a:close/>
              </a:path>
            </a:pathLst>
          </a:custGeom>
          <a:solidFill>
            <a:srgbClr val="CAD0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86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44D6F91E-AE06-43EC-A3B3-EDEB2CAC6D08}"/>
              </a:ext>
            </a:extLst>
          </p:cNvPr>
          <p:cNvSpPr>
            <a:spLocks/>
          </p:cNvSpPr>
          <p:nvPr userDrawn="1"/>
        </p:nvSpPr>
        <p:spPr bwMode="auto">
          <a:xfrm flipH="1" flipV="1">
            <a:off x="2262559" y="-70513"/>
            <a:ext cx="10001588" cy="5452441"/>
          </a:xfrm>
          <a:custGeom>
            <a:avLst/>
            <a:gdLst>
              <a:gd name="T0" fmla="*/ 2672 w 2740"/>
              <a:gd name="T1" fmla="*/ 0 h 2739"/>
              <a:gd name="T2" fmla="*/ 1779 w 2740"/>
              <a:gd name="T3" fmla="*/ 0 h 2739"/>
              <a:gd name="T4" fmla="*/ 1731 w 2740"/>
              <a:gd name="T5" fmla="*/ 19 h 2739"/>
              <a:gd name="T6" fmla="*/ 0 w 2740"/>
              <a:gd name="T7" fmla="*/ 1750 h 2739"/>
              <a:gd name="T8" fmla="*/ 990 w 2740"/>
              <a:gd name="T9" fmla="*/ 2739 h 2739"/>
              <a:gd name="T10" fmla="*/ 1563 w 2740"/>
              <a:gd name="T11" fmla="*/ 2164 h 2739"/>
              <a:gd name="T12" fmla="*/ 1565 w 2740"/>
              <a:gd name="T13" fmla="*/ 2166 h 2739"/>
              <a:gd name="T14" fmla="*/ 2720 w 2740"/>
              <a:gd name="T15" fmla="*/ 1008 h 2739"/>
              <a:gd name="T16" fmla="*/ 2740 w 2740"/>
              <a:gd name="T17" fmla="*/ 960 h 2739"/>
              <a:gd name="T18" fmla="*/ 2740 w 2740"/>
              <a:gd name="T19" fmla="*/ 68 h 2739"/>
              <a:gd name="T20" fmla="*/ 2672 w 2740"/>
              <a:gd name="T21" fmla="*/ 0 h 2739"/>
              <a:gd name="connsiteX0" fmla="*/ 9753 w 10001"/>
              <a:gd name="connsiteY0" fmla="*/ 185 h 10185"/>
              <a:gd name="connsiteX1" fmla="*/ 6494 w 10001"/>
              <a:gd name="connsiteY1" fmla="*/ 185 h 10185"/>
              <a:gd name="connsiteX2" fmla="*/ 6319 w 10001"/>
              <a:gd name="connsiteY2" fmla="*/ 254 h 10185"/>
              <a:gd name="connsiteX3" fmla="*/ 3205 w 10001"/>
              <a:gd name="connsiteY3" fmla="*/ 3363 h 10185"/>
              <a:gd name="connsiteX4" fmla="*/ 1 w 10001"/>
              <a:gd name="connsiteY4" fmla="*/ 6574 h 10185"/>
              <a:gd name="connsiteX5" fmla="*/ 3614 w 10001"/>
              <a:gd name="connsiteY5" fmla="*/ 10185 h 10185"/>
              <a:gd name="connsiteX6" fmla="*/ 5705 w 10001"/>
              <a:gd name="connsiteY6" fmla="*/ 8086 h 10185"/>
              <a:gd name="connsiteX7" fmla="*/ 5713 w 10001"/>
              <a:gd name="connsiteY7" fmla="*/ 8093 h 10185"/>
              <a:gd name="connsiteX8" fmla="*/ 9928 w 10001"/>
              <a:gd name="connsiteY8" fmla="*/ 3865 h 10185"/>
              <a:gd name="connsiteX9" fmla="*/ 10001 w 10001"/>
              <a:gd name="connsiteY9" fmla="*/ 3690 h 10185"/>
              <a:gd name="connsiteX10" fmla="*/ 10001 w 10001"/>
              <a:gd name="connsiteY10" fmla="*/ 433 h 10185"/>
              <a:gd name="connsiteX11" fmla="*/ 9753 w 10001"/>
              <a:gd name="connsiteY11" fmla="*/ 185 h 10185"/>
              <a:gd name="connsiteX0" fmla="*/ 9753 w 10001"/>
              <a:gd name="connsiteY0" fmla="*/ 185 h 10185"/>
              <a:gd name="connsiteX1" fmla="*/ 6494 w 10001"/>
              <a:gd name="connsiteY1" fmla="*/ 185 h 10185"/>
              <a:gd name="connsiteX2" fmla="*/ 6319 w 10001"/>
              <a:gd name="connsiteY2" fmla="*/ 254 h 10185"/>
              <a:gd name="connsiteX3" fmla="*/ 3205 w 10001"/>
              <a:gd name="connsiteY3" fmla="*/ 3363 h 10185"/>
              <a:gd name="connsiteX4" fmla="*/ 3205 w 10001"/>
              <a:gd name="connsiteY4" fmla="*/ 3363 h 10185"/>
              <a:gd name="connsiteX5" fmla="*/ 1 w 10001"/>
              <a:gd name="connsiteY5" fmla="*/ 6574 h 10185"/>
              <a:gd name="connsiteX6" fmla="*/ 3614 w 10001"/>
              <a:gd name="connsiteY6" fmla="*/ 10185 h 10185"/>
              <a:gd name="connsiteX7" fmla="*/ 5705 w 10001"/>
              <a:gd name="connsiteY7" fmla="*/ 8086 h 10185"/>
              <a:gd name="connsiteX8" fmla="*/ 5713 w 10001"/>
              <a:gd name="connsiteY8" fmla="*/ 8093 h 10185"/>
              <a:gd name="connsiteX9" fmla="*/ 9928 w 10001"/>
              <a:gd name="connsiteY9" fmla="*/ 3865 h 10185"/>
              <a:gd name="connsiteX10" fmla="*/ 10001 w 10001"/>
              <a:gd name="connsiteY10" fmla="*/ 3690 h 10185"/>
              <a:gd name="connsiteX11" fmla="*/ 10001 w 10001"/>
              <a:gd name="connsiteY11" fmla="*/ 433 h 10185"/>
              <a:gd name="connsiteX12" fmla="*/ 9753 w 10001"/>
              <a:gd name="connsiteY12" fmla="*/ 185 h 10185"/>
              <a:gd name="connsiteX0" fmla="*/ 9753 w 10001"/>
              <a:gd name="connsiteY0" fmla="*/ 185 h 10210"/>
              <a:gd name="connsiteX1" fmla="*/ 6494 w 10001"/>
              <a:gd name="connsiteY1" fmla="*/ 185 h 10210"/>
              <a:gd name="connsiteX2" fmla="*/ 6319 w 10001"/>
              <a:gd name="connsiteY2" fmla="*/ 254 h 10210"/>
              <a:gd name="connsiteX3" fmla="*/ 3205 w 10001"/>
              <a:gd name="connsiteY3" fmla="*/ 3363 h 10210"/>
              <a:gd name="connsiteX4" fmla="*/ 3205 w 10001"/>
              <a:gd name="connsiteY4" fmla="*/ 3363 h 10210"/>
              <a:gd name="connsiteX5" fmla="*/ 1 w 10001"/>
              <a:gd name="connsiteY5" fmla="*/ 6574 h 10210"/>
              <a:gd name="connsiteX6" fmla="*/ 3614 w 10001"/>
              <a:gd name="connsiteY6" fmla="*/ 10185 h 10210"/>
              <a:gd name="connsiteX7" fmla="*/ 5705 w 10001"/>
              <a:gd name="connsiteY7" fmla="*/ 8086 h 10210"/>
              <a:gd name="connsiteX8" fmla="*/ 5713 w 10001"/>
              <a:gd name="connsiteY8" fmla="*/ 8093 h 10210"/>
              <a:gd name="connsiteX9" fmla="*/ 9928 w 10001"/>
              <a:gd name="connsiteY9" fmla="*/ 3865 h 10210"/>
              <a:gd name="connsiteX10" fmla="*/ 10001 w 10001"/>
              <a:gd name="connsiteY10" fmla="*/ 3690 h 10210"/>
              <a:gd name="connsiteX11" fmla="*/ 10001 w 10001"/>
              <a:gd name="connsiteY11" fmla="*/ 433 h 10210"/>
              <a:gd name="connsiteX12" fmla="*/ 9753 w 10001"/>
              <a:gd name="connsiteY12" fmla="*/ 185 h 10210"/>
              <a:gd name="connsiteX0" fmla="*/ 6548 w 6796"/>
              <a:gd name="connsiteY0" fmla="*/ 185 h 10353"/>
              <a:gd name="connsiteX1" fmla="*/ 3289 w 6796"/>
              <a:gd name="connsiteY1" fmla="*/ 185 h 10353"/>
              <a:gd name="connsiteX2" fmla="*/ 3114 w 6796"/>
              <a:gd name="connsiteY2" fmla="*/ 254 h 10353"/>
              <a:gd name="connsiteX3" fmla="*/ 0 w 6796"/>
              <a:gd name="connsiteY3" fmla="*/ 3363 h 10353"/>
              <a:gd name="connsiteX4" fmla="*/ 0 w 6796"/>
              <a:gd name="connsiteY4" fmla="*/ 3363 h 10353"/>
              <a:gd name="connsiteX5" fmla="*/ 409 w 6796"/>
              <a:gd name="connsiteY5" fmla="*/ 10185 h 10353"/>
              <a:gd name="connsiteX6" fmla="*/ 2500 w 6796"/>
              <a:gd name="connsiteY6" fmla="*/ 8086 h 10353"/>
              <a:gd name="connsiteX7" fmla="*/ 2508 w 6796"/>
              <a:gd name="connsiteY7" fmla="*/ 8093 h 10353"/>
              <a:gd name="connsiteX8" fmla="*/ 6723 w 6796"/>
              <a:gd name="connsiteY8" fmla="*/ 3865 h 10353"/>
              <a:gd name="connsiteX9" fmla="*/ 6796 w 6796"/>
              <a:gd name="connsiteY9" fmla="*/ 3690 h 10353"/>
              <a:gd name="connsiteX10" fmla="*/ 6796 w 6796"/>
              <a:gd name="connsiteY10" fmla="*/ 433 h 10353"/>
              <a:gd name="connsiteX11" fmla="*/ 6548 w 6796"/>
              <a:gd name="connsiteY11" fmla="*/ 185 h 10353"/>
              <a:gd name="connsiteX0" fmla="*/ 9635 w 10000"/>
              <a:gd name="connsiteY0" fmla="*/ 180 h 7818"/>
              <a:gd name="connsiteX1" fmla="*/ 4840 w 10000"/>
              <a:gd name="connsiteY1" fmla="*/ 180 h 7818"/>
              <a:gd name="connsiteX2" fmla="*/ 4582 w 10000"/>
              <a:gd name="connsiteY2" fmla="*/ 246 h 7818"/>
              <a:gd name="connsiteX3" fmla="*/ 0 w 10000"/>
              <a:gd name="connsiteY3" fmla="*/ 3249 h 7818"/>
              <a:gd name="connsiteX4" fmla="*/ 0 w 10000"/>
              <a:gd name="connsiteY4" fmla="*/ 3249 h 7818"/>
              <a:gd name="connsiteX5" fmla="*/ 3679 w 10000"/>
              <a:gd name="connsiteY5" fmla="*/ 7811 h 7818"/>
              <a:gd name="connsiteX6" fmla="*/ 3690 w 10000"/>
              <a:gd name="connsiteY6" fmla="*/ 7818 h 7818"/>
              <a:gd name="connsiteX7" fmla="*/ 9893 w 10000"/>
              <a:gd name="connsiteY7" fmla="*/ 3734 h 7818"/>
              <a:gd name="connsiteX8" fmla="*/ 10000 w 10000"/>
              <a:gd name="connsiteY8" fmla="*/ 3565 h 7818"/>
              <a:gd name="connsiteX9" fmla="*/ 10000 w 10000"/>
              <a:gd name="connsiteY9" fmla="*/ 419 h 7818"/>
              <a:gd name="connsiteX10" fmla="*/ 9635 w 10000"/>
              <a:gd name="connsiteY10" fmla="*/ 180 h 7818"/>
              <a:gd name="connsiteX0" fmla="*/ 9635 w 10390"/>
              <a:gd name="connsiteY0" fmla="*/ 230 h 9992"/>
              <a:gd name="connsiteX1" fmla="*/ 4840 w 10390"/>
              <a:gd name="connsiteY1" fmla="*/ 230 h 9992"/>
              <a:gd name="connsiteX2" fmla="*/ 4582 w 10390"/>
              <a:gd name="connsiteY2" fmla="*/ 315 h 9992"/>
              <a:gd name="connsiteX3" fmla="*/ 0 w 10390"/>
              <a:gd name="connsiteY3" fmla="*/ 4156 h 9992"/>
              <a:gd name="connsiteX4" fmla="*/ 0 w 10390"/>
              <a:gd name="connsiteY4" fmla="*/ 4156 h 9992"/>
              <a:gd name="connsiteX5" fmla="*/ 3679 w 10390"/>
              <a:gd name="connsiteY5" fmla="*/ 9991 h 9992"/>
              <a:gd name="connsiteX6" fmla="*/ 9893 w 10390"/>
              <a:gd name="connsiteY6" fmla="*/ 4776 h 9992"/>
              <a:gd name="connsiteX7" fmla="*/ 10000 w 10390"/>
              <a:gd name="connsiteY7" fmla="*/ 4560 h 9992"/>
              <a:gd name="connsiteX8" fmla="*/ 10000 w 10390"/>
              <a:gd name="connsiteY8" fmla="*/ 536 h 9992"/>
              <a:gd name="connsiteX9" fmla="*/ 9635 w 10390"/>
              <a:gd name="connsiteY9" fmla="*/ 230 h 9992"/>
              <a:gd name="connsiteX0" fmla="*/ 9273 w 10000"/>
              <a:gd name="connsiteY0" fmla="*/ 230 h 4780"/>
              <a:gd name="connsiteX1" fmla="*/ 4658 w 10000"/>
              <a:gd name="connsiteY1" fmla="*/ 230 h 4780"/>
              <a:gd name="connsiteX2" fmla="*/ 4410 w 10000"/>
              <a:gd name="connsiteY2" fmla="*/ 315 h 4780"/>
              <a:gd name="connsiteX3" fmla="*/ 0 w 10000"/>
              <a:gd name="connsiteY3" fmla="*/ 4159 h 4780"/>
              <a:gd name="connsiteX4" fmla="*/ 0 w 10000"/>
              <a:gd name="connsiteY4" fmla="*/ 4159 h 4780"/>
              <a:gd name="connsiteX5" fmla="*/ 9522 w 10000"/>
              <a:gd name="connsiteY5" fmla="*/ 4780 h 4780"/>
              <a:gd name="connsiteX6" fmla="*/ 9625 w 10000"/>
              <a:gd name="connsiteY6" fmla="*/ 4564 h 4780"/>
              <a:gd name="connsiteX7" fmla="*/ 9625 w 10000"/>
              <a:gd name="connsiteY7" fmla="*/ 536 h 4780"/>
              <a:gd name="connsiteX8" fmla="*/ 9273 w 10000"/>
              <a:gd name="connsiteY8" fmla="*/ 230 h 4780"/>
              <a:gd name="connsiteX0" fmla="*/ 9273 w 9625"/>
              <a:gd name="connsiteY0" fmla="*/ 481 h 9548"/>
              <a:gd name="connsiteX1" fmla="*/ 4658 w 9625"/>
              <a:gd name="connsiteY1" fmla="*/ 481 h 9548"/>
              <a:gd name="connsiteX2" fmla="*/ 4410 w 9625"/>
              <a:gd name="connsiteY2" fmla="*/ 659 h 9548"/>
              <a:gd name="connsiteX3" fmla="*/ 0 w 9625"/>
              <a:gd name="connsiteY3" fmla="*/ 8701 h 9548"/>
              <a:gd name="connsiteX4" fmla="*/ 0 w 9625"/>
              <a:gd name="connsiteY4" fmla="*/ 8701 h 9548"/>
              <a:gd name="connsiteX5" fmla="*/ 9625 w 9625"/>
              <a:gd name="connsiteY5" fmla="*/ 9548 h 9548"/>
              <a:gd name="connsiteX6" fmla="*/ 9625 w 9625"/>
              <a:gd name="connsiteY6" fmla="*/ 1121 h 9548"/>
              <a:gd name="connsiteX7" fmla="*/ 9273 w 9625"/>
              <a:gd name="connsiteY7" fmla="*/ 481 h 9548"/>
              <a:gd name="connsiteX0" fmla="*/ 9634 w 10000"/>
              <a:gd name="connsiteY0" fmla="*/ 497 h 9993"/>
              <a:gd name="connsiteX1" fmla="*/ 4839 w 10000"/>
              <a:gd name="connsiteY1" fmla="*/ 497 h 9993"/>
              <a:gd name="connsiteX2" fmla="*/ 4582 w 10000"/>
              <a:gd name="connsiteY2" fmla="*/ 683 h 9993"/>
              <a:gd name="connsiteX3" fmla="*/ 0 w 10000"/>
              <a:gd name="connsiteY3" fmla="*/ 9106 h 9993"/>
              <a:gd name="connsiteX4" fmla="*/ 0 w 10000"/>
              <a:gd name="connsiteY4" fmla="*/ 9106 h 9993"/>
              <a:gd name="connsiteX5" fmla="*/ 10000 w 10000"/>
              <a:gd name="connsiteY5" fmla="*/ 9993 h 9993"/>
              <a:gd name="connsiteX6" fmla="*/ 10000 w 10000"/>
              <a:gd name="connsiteY6" fmla="*/ 1167 h 9993"/>
              <a:gd name="connsiteX7" fmla="*/ 9634 w 10000"/>
              <a:gd name="connsiteY7" fmla="*/ 497 h 9993"/>
              <a:gd name="connsiteX0" fmla="*/ 9634 w 10000"/>
              <a:gd name="connsiteY0" fmla="*/ 497 h 10000"/>
              <a:gd name="connsiteX1" fmla="*/ 4839 w 10000"/>
              <a:gd name="connsiteY1" fmla="*/ 497 h 10000"/>
              <a:gd name="connsiteX2" fmla="*/ 4582 w 10000"/>
              <a:gd name="connsiteY2" fmla="*/ 683 h 10000"/>
              <a:gd name="connsiteX3" fmla="*/ 0 w 10000"/>
              <a:gd name="connsiteY3" fmla="*/ 9112 h 10000"/>
              <a:gd name="connsiteX4" fmla="*/ 0 w 10000"/>
              <a:gd name="connsiteY4" fmla="*/ 9112 h 10000"/>
              <a:gd name="connsiteX5" fmla="*/ 10000 w 10000"/>
              <a:gd name="connsiteY5" fmla="*/ 10000 h 10000"/>
              <a:gd name="connsiteX6" fmla="*/ 10000 w 10000"/>
              <a:gd name="connsiteY6" fmla="*/ 1168 h 10000"/>
              <a:gd name="connsiteX7" fmla="*/ 9634 w 10000"/>
              <a:gd name="connsiteY7" fmla="*/ 497 h 10000"/>
              <a:gd name="connsiteX0" fmla="*/ 9634 w 10000"/>
              <a:gd name="connsiteY0" fmla="*/ 497 h 10000"/>
              <a:gd name="connsiteX1" fmla="*/ 4839 w 10000"/>
              <a:gd name="connsiteY1" fmla="*/ 497 h 10000"/>
              <a:gd name="connsiteX2" fmla="*/ 4582 w 10000"/>
              <a:gd name="connsiteY2" fmla="*/ 683 h 10000"/>
              <a:gd name="connsiteX3" fmla="*/ 0 w 10000"/>
              <a:gd name="connsiteY3" fmla="*/ 9112 h 10000"/>
              <a:gd name="connsiteX4" fmla="*/ 0 w 10000"/>
              <a:gd name="connsiteY4" fmla="*/ 9112 h 10000"/>
              <a:gd name="connsiteX5" fmla="*/ 10000 w 10000"/>
              <a:gd name="connsiteY5" fmla="*/ 10000 h 10000"/>
              <a:gd name="connsiteX6" fmla="*/ 10000 w 10000"/>
              <a:gd name="connsiteY6" fmla="*/ 1168 h 10000"/>
              <a:gd name="connsiteX7" fmla="*/ 9634 w 10000"/>
              <a:gd name="connsiteY7" fmla="*/ 497 h 10000"/>
              <a:gd name="connsiteX0" fmla="*/ 9634 w 10000"/>
              <a:gd name="connsiteY0" fmla="*/ 0 h 9503"/>
              <a:gd name="connsiteX1" fmla="*/ 4839 w 10000"/>
              <a:gd name="connsiteY1" fmla="*/ 0 h 9503"/>
              <a:gd name="connsiteX2" fmla="*/ 4582 w 10000"/>
              <a:gd name="connsiteY2" fmla="*/ 186 h 9503"/>
              <a:gd name="connsiteX3" fmla="*/ 0 w 10000"/>
              <a:gd name="connsiteY3" fmla="*/ 8615 h 9503"/>
              <a:gd name="connsiteX4" fmla="*/ 0 w 10000"/>
              <a:gd name="connsiteY4" fmla="*/ 8615 h 9503"/>
              <a:gd name="connsiteX5" fmla="*/ 10000 w 10000"/>
              <a:gd name="connsiteY5" fmla="*/ 9503 h 9503"/>
              <a:gd name="connsiteX6" fmla="*/ 10000 w 10000"/>
              <a:gd name="connsiteY6" fmla="*/ 671 h 9503"/>
              <a:gd name="connsiteX7" fmla="*/ 9634 w 10000"/>
              <a:gd name="connsiteY7" fmla="*/ 0 h 9503"/>
              <a:gd name="connsiteX0" fmla="*/ 9634 w 10000"/>
              <a:gd name="connsiteY0" fmla="*/ 0 h 10000"/>
              <a:gd name="connsiteX1" fmla="*/ 4839 w 10000"/>
              <a:gd name="connsiteY1" fmla="*/ 0 h 10000"/>
              <a:gd name="connsiteX2" fmla="*/ 4582 w 10000"/>
              <a:gd name="connsiteY2" fmla="*/ 196 h 10000"/>
              <a:gd name="connsiteX3" fmla="*/ 0 w 10000"/>
              <a:gd name="connsiteY3" fmla="*/ 9066 h 10000"/>
              <a:gd name="connsiteX4" fmla="*/ 0 w 10000"/>
              <a:gd name="connsiteY4" fmla="*/ 9066 h 10000"/>
              <a:gd name="connsiteX5" fmla="*/ 10000 w 10000"/>
              <a:gd name="connsiteY5" fmla="*/ 10000 h 10000"/>
              <a:gd name="connsiteX6" fmla="*/ 10000 w 10000"/>
              <a:gd name="connsiteY6" fmla="*/ 706 h 10000"/>
              <a:gd name="connsiteX7" fmla="*/ 9634 w 10000"/>
              <a:gd name="connsiteY7" fmla="*/ 0 h 10000"/>
              <a:gd name="connsiteX0" fmla="*/ 9634 w 10000"/>
              <a:gd name="connsiteY0" fmla="*/ 0 h 10000"/>
              <a:gd name="connsiteX1" fmla="*/ 4839 w 10000"/>
              <a:gd name="connsiteY1" fmla="*/ 0 h 10000"/>
              <a:gd name="connsiteX2" fmla="*/ 4582 w 10000"/>
              <a:gd name="connsiteY2" fmla="*/ 196 h 10000"/>
              <a:gd name="connsiteX3" fmla="*/ 0 w 10000"/>
              <a:gd name="connsiteY3" fmla="*/ 9066 h 10000"/>
              <a:gd name="connsiteX4" fmla="*/ 0 w 10000"/>
              <a:gd name="connsiteY4" fmla="*/ 9066 h 10000"/>
              <a:gd name="connsiteX5" fmla="*/ 10000 w 10000"/>
              <a:gd name="connsiteY5" fmla="*/ 10000 h 10000"/>
              <a:gd name="connsiteX6" fmla="*/ 10000 w 10000"/>
              <a:gd name="connsiteY6" fmla="*/ 706 h 10000"/>
              <a:gd name="connsiteX7" fmla="*/ 9634 w 10000"/>
              <a:gd name="connsiteY7" fmla="*/ 0 h 10000"/>
              <a:gd name="connsiteX0" fmla="*/ 9634 w 10000"/>
              <a:gd name="connsiteY0" fmla="*/ 0 h 10000"/>
              <a:gd name="connsiteX1" fmla="*/ 4839 w 10000"/>
              <a:gd name="connsiteY1" fmla="*/ 0 h 10000"/>
              <a:gd name="connsiteX2" fmla="*/ 4582 w 10000"/>
              <a:gd name="connsiteY2" fmla="*/ 196 h 10000"/>
              <a:gd name="connsiteX3" fmla="*/ 0 w 10000"/>
              <a:gd name="connsiteY3" fmla="*/ 9066 h 10000"/>
              <a:gd name="connsiteX4" fmla="*/ 0 w 10000"/>
              <a:gd name="connsiteY4" fmla="*/ 9066 h 10000"/>
              <a:gd name="connsiteX5" fmla="*/ 10000 w 10000"/>
              <a:gd name="connsiteY5" fmla="*/ 10000 h 10000"/>
              <a:gd name="connsiteX6" fmla="*/ 10000 w 10000"/>
              <a:gd name="connsiteY6" fmla="*/ 706 h 10000"/>
              <a:gd name="connsiteX7" fmla="*/ 9634 w 10000"/>
              <a:gd name="connsiteY7" fmla="*/ 0 h 10000"/>
              <a:gd name="connsiteX0" fmla="*/ 9634 w 10000"/>
              <a:gd name="connsiteY0" fmla="*/ 0 h 9093"/>
              <a:gd name="connsiteX1" fmla="*/ 4839 w 10000"/>
              <a:gd name="connsiteY1" fmla="*/ 0 h 9093"/>
              <a:gd name="connsiteX2" fmla="*/ 4582 w 10000"/>
              <a:gd name="connsiteY2" fmla="*/ 196 h 9093"/>
              <a:gd name="connsiteX3" fmla="*/ 0 w 10000"/>
              <a:gd name="connsiteY3" fmla="*/ 9066 h 9093"/>
              <a:gd name="connsiteX4" fmla="*/ 0 w 10000"/>
              <a:gd name="connsiteY4" fmla="*/ 9066 h 9093"/>
              <a:gd name="connsiteX5" fmla="*/ 10000 w 10000"/>
              <a:gd name="connsiteY5" fmla="*/ 9093 h 9093"/>
              <a:gd name="connsiteX6" fmla="*/ 10000 w 10000"/>
              <a:gd name="connsiteY6" fmla="*/ 706 h 9093"/>
              <a:gd name="connsiteX7" fmla="*/ 9634 w 10000"/>
              <a:gd name="connsiteY7" fmla="*/ 0 h 9093"/>
              <a:gd name="connsiteX0" fmla="*/ 9634 w 10000"/>
              <a:gd name="connsiteY0" fmla="*/ 0 h 11475"/>
              <a:gd name="connsiteX1" fmla="*/ 4839 w 10000"/>
              <a:gd name="connsiteY1" fmla="*/ 0 h 11475"/>
              <a:gd name="connsiteX2" fmla="*/ 4582 w 10000"/>
              <a:gd name="connsiteY2" fmla="*/ 216 h 11475"/>
              <a:gd name="connsiteX3" fmla="*/ 0 w 10000"/>
              <a:gd name="connsiteY3" fmla="*/ 9970 h 11475"/>
              <a:gd name="connsiteX4" fmla="*/ 0 w 10000"/>
              <a:gd name="connsiteY4" fmla="*/ 9970 h 11475"/>
              <a:gd name="connsiteX5" fmla="*/ 10000 w 10000"/>
              <a:gd name="connsiteY5" fmla="*/ 10000 h 11475"/>
              <a:gd name="connsiteX6" fmla="*/ 10000 w 10000"/>
              <a:gd name="connsiteY6" fmla="*/ 776 h 11475"/>
              <a:gd name="connsiteX7" fmla="*/ 9634 w 10000"/>
              <a:gd name="connsiteY7" fmla="*/ 0 h 11475"/>
              <a:gd name="connsiteX0" fmla="*/ 9634 w 10000"/>
              <a:gd name="connsiteY0" fmla="*/ 0 h 11475"/>
              <a:gd name="connsiteX1" fmla="*/ 4839 w 10000"/>
              <a:gd name="connsiteY1" fmla="*/ 0 h 11475"/>
              <a:gd name="connsiteX2" fmla="*/ 4582 w 10000"/>
              <a:gd name="connsiteY2" fmla="*/ 216 h 11475"/>
              <a:gd name="connsiteX3" fmla="*/ 0 w 10000"/>
              <a:gd name="connsiteY3" fmla="*/ 9970 h 11475"/>
              <a:gd name="connsiteX4" fmla="*/ 0 w 10000"/>
              <a:gd name="connsiteY4" fmla="*/ 9970 h 11475"/>
              <a:gd name="connsiteX5" fmla="*/ 10000 w 10000"/>
              <a:gd name="connsiteY5" fmla="*/ 10000 h 11475"/>
              <a:gd name="connsiteX6" fmla="*/ 10000 w 10000"/>
              <a:gd name="connsiteY6" fmla="*/ 776 h 11475"/>
              <a:gd name="connsiteX7" fmla="*/ 9634 w 10000"/>
              <a:gd name="connsiteY7" fmla="*/ 0 h 11475"/>
              <a:gd name="connsiteX0" fmla="*/ 9634 w 10000"/>
              <a:gd name="connsiteY0" fmla="*/ 0 h 11475"/>
              <a:gd name="connsiteX1" fmla="*/ 4839 w 10000"/>
              <a:gd name="connsiteY1" fmla="*/ 0 h 11475"/>
              <a:gd name="connsiteX2" fmla="*/ 4582 w 10000"/>
              <a:gd name="connsiteY2" fmla="*/ 216 h 11475"/>
              <a:gd name="connsiteX3" fmla="*/ 0 w 10000"/>
              <a:gd name="connsiteY3" fmla="*/ 9970 h 11475"/>
              <a:gd name="connsiteX4" fmla="*/ 0 w 10000"/>
              <a:gd name="connsiteY4" fmla="*/ 9970 h 11475"/>
              <a:gd name="connsiteX5" fmla="*/ 10000 w 10000"/>
              <a:gd name="connsiteY5" fmla="*/ 10000 h 11475"/>
              <a:gd name="connsiteX6" fmla="*/ 10000 w 10000"/>
              <a:gd name="connsiteY6" fmla="*/ 776 h 11475"/>
              <a:gd name="connsiteX7" fmla="*/ 9634 w 10000"/>
              <a:gd name="connsiteY7" fmla="*/ 0 h 11475"/>
              <a:gd name="connsiteX0" fmla="*/ 9634 w 10000"/>
              <a:gd name="connsiteY0" fmla="*/ 0 h 10000"/>
              <a:gd name="connsiteX1" fmla="*/ 4839 w 10000"/>
              <a:gd name="connsiteY1" fmla="*/ 0 h 10000"/>
              <a:gd name="connsiteX2" fmla="*/ 4582 w 10000"/>
              <a:gd name="connsiteY2" fmla="*/ 216 h 10000"/>
              <a:gd name="connsiteX3" fmla="*/ 0 w 10000"/>
              <a:gd name="connsiteY3" fmla="*/ 9970 h 10000"/>
              <a:gd name="connsiteX4" fmla="*/ 0 w 10000"/>
              <a:gd name="connsiteY4" fmla="*/ 9970 h 10000"/>
              <a:gd name="connsiteX5" fmla="*/ 10000 w 10000"/>
              <a:gd name="connsiteY5" fmla="*/ 10000 h 10000"/>
              <a:gd name="connsiteX6" fmla="*/ 10000 w 10000"/>
              <a:gd name="connsiteY6" fmla="*/ 776 h 10000"/>
              <a:gd name="connsiteX7" fmla="*/ 9634 w 10000"/>
              <a:gd name="connsiteY7" fmla="*/ 0 h 10000"/>
              <a:gd name="connsiteX0" fmla="*/ 9634 w 10000"/>
              <a:gd name="connsiteY0" fmla="*/ 0 h 10000"/>
              <a:gd name="connsiteX1" fmla="*/ 4839 w 10000"/>
              <a:gd name="connsiteY1" fmla="*/ 0 h 10000"/>
              <a:gd name="connsiteX2" fmla="*/ 4582 w 10000"/>
              <a:gd name="connsiteY2" fmla="*/ 216 h 10000"/>
              <a:gd name="connsiteX3" fmla="*/ 0 w 10000"/>
              <a:gd name="connsiteY3" fmla="*/ 9970 h 10000"/>
              <a:gd name="connsiteX4" fmla="*/ 0 w 10000"/>
              <a:gd name="connsiteY4" fmla="*/ 9970 h 10000"/>
              <a:gd name="connsiteX5" fmla="*/ 2122 w 10000"/>
              <a:gd name="connsiteY5" fmla="*/ 9970 h 10000"/>
              <a:gd name="connsiteX6" fmla="*/ 10000 w 10000"/>
              <a:gd name="connsiteY6" fmla="*/ 10000 h 10000"/>
              <a:gd name="connsiteX7" fmla="*/ 10000 w 10000"/>
              <a:gd name="connsiteY7" fmla="*/ 776 h 10000"/>
              <a:gd name="connsiteX8" fmla="*/ 9634 w 10000"/>
              <a:gd name="connsiteY8" fmla="*/ 0 h 10000"/>
              <a:gd name="connsiteX0" fmla="*/ 9634 w 10000"/>
              <a:gd name="connsiteY0" fmla="*/ 0 h 10000"/>
              <a:gd name="connsiteX1" fmla="*/ 4839 w 10000"/>
              <a:gd name="connsiteY1" fmla="*/ 0 h 10000"/>
              <a:gd name="connsiteX2" fmla="*/ 4582 w 10000"/>
              <a:gd name="connsiteY2" fmla="*/ 216 h 10000"/>
              <a:gd name="connsiteX3" fmla="*/ 0 w 10000"/>
              <a:gd name="connsiteY3" fmla="*/ 9970 h 10000"/>
              <a:gd name="connsiteX4" fmla="*/ 0 w 10000"/>
              <a:gd name="connsiteY4" fmla="*/ 9970 h 10000"/>
              <a:gd name="connsiteX5" fmla="*/ 2122 w 10000"/>
              <a:gd name="connsiteY5" fmla="*/ 9970 h 10000"/>
              <a:gd name="connsiteX6" fmla="*/ 2122 w 10000"/>
              <a:gd name="connsiteY6" fmla="*/ 9970 h 10000"/>
              <a:gd name="connsiteX7" fmla="*/ 10000 w 10000"/>
              <a:gd name="connsiteY7" fmla="*/ 10000 h 10000"/>
              <a:gd name="connsiteX8" fmla="*/ 10000 w 10000"/>
              <a:gd name="connsiteY8" fmla="*/ 776 h 10000"/>
              <a:gd name="connsiteX9" fmla="*/ 9634 w 10000"/>
              <a:gd name="connsiteY9" fmla="*/ 0 h 10000"/>
              <a:gd name="connsiteX0" fmla="*/ 9634 w 10000"/>
              <a:gd name="connsiteY0" fmla="*/ 0 h 10000"/>
              <a:gd name="connsiteX1" fmla="*/ 4839 w 10000"/>
              <a:gd name="connsiteY1" fmla="*/ 0 h 10000"/>
              <a:gd name="connsiteX2" fmla="*/ 4582 w 10000"/>
              <a:gd name="connsiteY2" fmla="*/ 216 h 10000"/>
              <a:gd name="connsiteX3" fmla="*/ 2129 w 10000"/>
              <a:gd name="connsiteY3" fmla="*/ 5469 h 10000"/>
              <a:gd name="connsiteX4" fmla="*/ 0 w 10000"/>
              <a:gd name="connsiteY4" fmla="*/ 9970 h 10000"/>
              <a:gd name="connsiteX5" fmla="*/ 0 w 10000"/>
              <a:gd name="connsiteY5" fmla="*/ 9970 h 10000"/>
              <a:gd name="connsiteX6" fmla="*/ 2122 w 10000"/>
              <a:gd name="connsiteY6" fmla="*/ 9970 h 10000"/>
              <a:gd name="connsiteX7" fmla="*/ 2122 w 10000"/>
              <a:gd name="connsiteY7" fmla="*/ 9970 h 10000"/>
              <a:gd name="connsiteX8" fmla="*/ 10000 w 10000"/>
              <a:gd name="connsiteY8" fmla="*/ 10000 h 10000"/>
              <a:gd name="connsiteX9" fmla="*/ 10000 w 10000"/>
              <a:gd name="connsiteY9" fmla="*/ 776 h 10000"/>
              <a:gd name="connsiteX10" fmla="*/ 9634 w 10000"/>
              <a:gd name="connsiteY10" fmla="*/ 0 h 10000"/>
              <a:gd name="connsiteX0" fmla="*/ 9634 w 10000"/>
              <a:gd name="connsiteY0" fmla="*/ 0 h 10000"/>
              <a:gd name="connsiteX1" fmla="*/ 4839 w 10000"/>
              <a:gd name="connsiteY1" fmla="*/ 0 h 10000"/>
              <a:gd name="connsiteX2" fmla="*/ 4582 w 10000"/>
              <a:gd name="connsiteY2" fmla="*/ 216 h 10000"/>
              <a:gd name="connsiteX3" fmla="*/ 2129 w 10000"/>
              <a:gd name="connsiteY3" fmla="*/ 5469 h 10000"/>
              <a:gd name="connsiteX4" fmla="*/ 0 w 10000"/>
              <a:gd name="connsiteY4" fmla="*/ 9970 h 10000"/>
              <a:gd name="connsiteX5" fmla="*/ 2122 w 10000"/>
              <a:gd name="connsiteY5" fmla="*/ 9970 h 10000"/>
              <a:gd name="connsiteX6" fmla="*/ 2122 w 10000"/>
              <a:gd name="connsiteY6" fmla="*/ 9970 h 10000"/>
              <a:gd name="connsiteX7" fmla="*/ 10000 w 10000"/>
              <a:gd name="connsiteY7" fmla="*/ 10000 h 10000"/>
              <a:gd name="connsiteX8" fmla="*/ 10000 w 10000"/>
              <a:gd name="connsiteY8" fmla="*/ 776 h 10000"/>
              <a:gd name="connsiteX9" fmla="*/ 9634 w 10000"/>
              <a:gd name="connsiteY9" fmla="*/ 0 h 10000"/>
              <a:gd name="connsiteX0" fmla="*/ 7512 w 7878"/>
              <a:gd name="connsiteY0" fmla="*/ 0 h 10000"/>
              <a:gd name="connsiteX1" fmla="*/ 2717 w 7878"/>
              <a:gd name="connsiteY1" fmla="*/ 0 h 10000"/>
              <a:gd name="connsiteX2" fmla="*/ 2460 w 7878"/>
              <a:gd name="connsiteY2" fmla="*/ 216 h 10000"/>
              <a:gd name="connsiteX3" fmla="*/ 7 w 7878"/>
              <a:gd name="connsiteY3" fmla="*/ 5469 h 10000"/>
              <a:gd name="connsiteX4" fmla="*/ 0 w 7878"/>
              <a:gd name="connsiteY4" fmla="*/ 9970 h 10000"/>
              <a:gd name="connsiteX5" fmla="*/ 0 w 7878"/>
              <a:gd name="connsiteY5" fmla="*/ 9970 h 10000"/>
              <a:gd name="connsiteX6" fmla="*/ 7878 w 7878"/>
              <a:gd name="connsiteY6" fmla="*/ 10000 h 10000"/>
              <a:gd name="connsiteX7" fmla="*/ 7878 w 7878"/>
              <a:gd name="connsiteY7" fmla="*/ 776 h 10000"/>
              <a:gd name="connsiteX8" fmla="*/ 7512 w 7878"/>
              <a:gd name="connsiteY8" fmla="*/ 0 h 10000"/>
              <a:gd name="connsiteX0" fmla="*/ 9535 w 10045"/>
              <a:gd name="connsiteY0" fmla="*/ 0 h 9970"/>
              <a:gd name="connsiteX1" fmla="*/ 3449 w 10045"/>
              <a:gd name="connsiteY1" fmla="*/ 0 h 9970"/>
              <a:gd name="connsiteX2" fmla="*/ 3123 w 10045"/>
              <a:gd name="connsiteY2" fmla="*/ 216 h 9970"/>
              <a:gd name="connsiteX3" fmla="*/ 9 w 10045"/>
              <a:gd name="connsiteY3" fmla="*/ 5469 h 9970"/>
              <a:gd name="connsiteX4" fmla="*/ 0 w 10045"/>
              <a:gd name="connsiteY4" fmla="*/ 9970 h 9970"/>
              <a:gd name="connsiteX5" fmla="*/ 0 w 10045"/>
              <a:gd name="connsiteY5" fmla="*/ 9970 h 9970"/>
              <a:gd name="connsiteX6" fmla="*/ 10045 w 10045"/>
              <a:gd name="connsiteY6" fmla="*/ 9955 h 9970"/>
              <a:gd name="connsiteX7" fmla="*/ 10000 w 10045"/>
              <a:gd name="connsiteY7" fmla="*/ 776 h 9970"/>
              <a:gd name="connsiteX8" fmla="*/ 9535 w 10045"/>
              <a:gd name="connsiteY8" fmla="*/ 0 h 9970"/>
              <a:gd name="connsiteX0" fmla="*/ 9492 w 10000"/>
              <a:gd name="connsiteY0" fmla="*/ 0 h 10000"/>
              <a:gd name="connsiteX1" fmla="*/ 3434 w 10000"/>
              <a:gd name="connsiteY1" fmla="*/ 0 h 10000"/>
              <a:gd name="connsiteX2" fmla="*/ 3109 w 10000"/>
              <a:gd name="connsiteY2" fmla="*/ 217 h 10000"/>
              <a:gd name="connsiteX3" fmla="*/ 9 w 10000"/>
              <a:gd name="connsiteY3" fmla="*/ 5485 h 10000"/>
              <a:gd name="connsiteX4" fmla="*/ 0 w 10000"/>
              <a:gd name="connsiteY4" fmla="*/ 10000 h 10000"/>
              <a:gd name="connsiteX5" fmla="*/ 0 w 10000"/>
              <a:gd name="connsiteY5" fmla="*/ 10000 h 10000"/>
              <a:gd name="connsiteX6" fmla="*/ 10000 w 10000"/>
              <a:gd name="connsiteY6" fmla="*/ 9985 h 10000"/>
              <a:gd name="connsiteX7" fmla="*/ 9955 w 10000"/>
              <a:gd name="connsiteY7" fmla="*/ 778 h 10000"/>
              <a:gd name="connsiteX8" fmla="*/ 9492 w 10000"/>
              <a:gd name="connsiteY8" fmla="*/ 0 h 10000"/>
              <a:gd name="connsiteX0" fmla="*/ 9492 w 9991"/>
              <a:gd name="connsiteY0" fmla="*/ 0 h 10000"/>
              <a:gd name="connsiteX1" fmla="*/ 3434 w 9991"/>
              <a:gd name="connsiteY1" fmla="*/ 0 h 10000"/>
              <a:gd name="connsiteX2" fmla="*/ 3109 w 9991"/>
              <a:gd name="connsiteY2" fmla="*/ 217 h 10000"/>
              <a:gd name="connsiteX3" fmla="*/ 9 w 9991"/>
              <a:gd name="connsiteY3" fmla="*/ 5485 h 10000"/>
              <a:gd name="connsiteX4" fmla="*/ 0 w 9991"/>
              <a:gd name="connsiteY4" fmla="*/ 10000 h 10000"/>
              <a:gd name="connsiteX5" fmla="*/ 0 w 9991"/>
              <a:gd name="connsiteY5" fmla="*/ 10000 h 10000"/>
              <a:gd name="connsiteX6" fmla="*/ 9991 w 9991"/>
              <a:gd name="connsiteY6" fmla="*/ 9955 h 10000"/>
              <a:gd name="connsiteX7" fmla="*/ 9955 w 9991"/>
              <a:gd name="connsiteY7" fmla="*/ 778 h 10000"/>
              <a:gd name="connsiteX8" fmla="*/ 9492 w 9991"/>
              <a:gd name="connsiteY8" fmla="*/ 0 h 10000"/>
              <a:gd name="connsiteX0" fmla="*/ 9501 w 9973"/>
              <a:gd name="connsiteY0" fmla="*/ 0 h 10000"/>
              <a:gd name="connsiteX1" fmla="*/ 3437 w 9973"/>
              <a:gd name="connsiteY1" fmla="*/ 0 h 10000"/>
              <a:gd name="connsiteX2" fmla="*/ 3112 w 9973"/>
              <a:gd name="connsiteY2" fmla="*/ 217 h 10000"/>
              <a:gd name="connsiteX3" fmla="*/ 9 w 9973"/>
              <a:gd name="connsiteY3" fmla="*/ 5485 h 10000"/>
              <a:gd name="connsiteX4" fmla="*/ 0 w 9973"/>
              <a:gd name="connsiteY4" fmla="*/ 10000 h 10000"/>
              <a:gd name="connsiteX5" fmla="*/ 0 w 9973"/>
              <a:gd name="connsiteY5" fmla="*/ 10000 h 10000"/>
              <a:gd name="connsiteX6" fmla="*/ 9973 w 9973"/>
              <a:gd name="connsiteY6" fmla="*/ 9970 h 10000"/>
              <a:gd name="connsiteX7" fmla="*/ 9964 w 9973"/>
              <a:gd name="connsiteY7" fmla="*/ 778 h 10000"/>
              <a:gd name="connsiteX8" fmla="*/ 9501 w 9973"/>
              <a:gd name="connsiteY8" fmla="*/ 0 h 10000"/>
              <a:gd name="connsiteX0" fmla="*/ 9527 w 10000"/>
              <a:gd name="connsiteY0" fmla="*/ 0 h 10015"/>
              <a:gd name="connsiteX1" fmla="*/ 3446 w 10000"/>
              <a:gd name="connsiteY1" fmla="*/ 0 h 10015"/>
              <a:gd name="connsiteX2" fmla="*/ 3120 w 10000"/>
              <a:gd name="connsiteY2" fmla="*/ 217 h 10015"/>
              <a:gd name="connsiteX3" fmla="*/ 9 w 10000"/>
              <a:gd name="connsiteY3" fmla="*/ 5485 h 10015"/>
              <a:gd name="connsiteX4" fmla="*/ 0 w 10000"/>
              <a:gd name="connsiteY4" fmla="*/ 10000 h 10015"/>
              <a:gd name="connsiteX5" fmla="*/ 0 w 10000"/>
              <a:gd name="connsiteY5" fmla="*/ 10000 h 10015"/>
              <a:gd name="connsiteX6" fmla="*/ 10000 w 10000"/>
              <a:gd name="connsiteY6" fmla="*/ 10015 h 10015"/>
              <a:gd name="connsiteX7" fmla="*/ 9991 w 10000"/>
              <a:gd name="connsiteY7" fmla="*/ 778 h 10015"/>
              <a:gd name="connsiteX8" fmla="*/ 9527 w 10000"/>
              <a:gd name="connsiteY8" fmla="*/ 0 h 10015"/>
              <a:gd name="connsiteX0" fmla="*/ 9527 w 10740"/>
              <a:gd name="connsiteY0" fmla="*/ 0 h 10015"/>
              <a:gd name="connsiteX1" fmla="*/ 3446 w 10740"/>
              <a:gd name="connsiteY1" fmla="*/ 0 h 10015"/>
              <a:gd name="connsiteX2" fmla="*/ 3120 w 10740"/>
              <a:gd name="connsiteY2" fmla="*/ 217 h 10015"/>
              <a:gd name="connsiteX3" fmla="*/ 9 w 10740"/>
              <a:gd name="connsiteY3" fmla="*/ 5485 h 10015"/>
              <a:gd name="connsiteX4" fmla="*/ 0 w 10740"/>
              <a:gd name="connsiteY4" fmla="*/ 10000 h 10015"/>
              <a:gd name="connsiteX5" fmla="*/ 0 w 10740"/>
              <a:gd name="connsiteY5" fmla="*/ 10000 h 10015"/>
              <a:gd name="connsiteX6" fmla="*/ 10000 w 10740"/>
              <a:gd name="connsiteY6" fmla="*/ 10015 h 10015"/>
              <a:gd name="connsiteX7" fmla="*/ 9998 w 10740"/>
              <a:gd name="connsiteY7" fmla="*/ 8673 h 10015"/>
              <a:gd name="connsiteX8" fmla="*/ 9991 w 10740"/>
              <a:gd name="connsiteY8" fmla="*/ 778 h 10015"/>
              <a:gd name="connsiteX9" fmla="*/ 9527 w 10740"/>
              <a:gd name="connsiteY9" fmla="*/ 0 h 10015"/>
              <a:gd name="connsiteX0" fmla="*/ 9527 w 10740"/>
              <a:gd name="connsiteY0" fmla="*/ 0 h 10015"/>
              <a:gd name="connsiteX1" fmla="*/ 3446 w 10740"/>
              <a:gd name="connsiteY1" fmla="*/ 0 h 10015"/>
              <a:gd name="connsiteX2" fmla="*/ 3120 w 10740"/>
              <a:gd name="connsiteY2" fmla="*/ 217 h 10015"/>
              <a:gd name="connsiteX3" fmla="*/ 9 w 10740"/>
              <a:gd name="connsiteY3" fmla="*/ 5485 h 10015"/>
              <a:gd name="connsiteX4" fmla="*/ 0 w 10740"/>
              <a:gd name="connsiteY4" fmla="*/ 10000 h 10015"/>
              <a:gd name="connsiteX5" fmla="*/ 0 w 10740"/>
              <a:gd name="connsiteY5" fmla="*/ 10000 h 10015"/>
              <a:gd name="connsiteX6" fmla="*/ 10000 w 10740"/>
              <a:gd name="connsiteY6" fmla="*/ 10015 h 10015"/>
              <a:gd name="connsiteX7" fmla="*/ 9998 w 10740"/>
              <a:gd name="connsiteY7" fmla="*/ 8673 h 10015"/>
              <a:gd name="connsiteX8" fmla="*/ 9998 w 10740"/>
              <a:gd name="connsiteY8" fmla="*/ 8673 h 10015"/>
              <a:gd name="connsiteX9" fmla="*/ 9991 w 10740"/>
              <a:gd name="connsiteY9" fmla="*/ 778 h 10015"/>
              <a:gd name="connsiteX10" fmla="*/ 9527 w 10740"/>
              <a:gd name="connsiteY10" fmla="*/ 0 h 10015"/>
              <a:gd name="connsiteX0" fmla="*/ 9527 w 10740"/>
              <a:gd name="connsiteY0" fmla="*/ 0 h 10015"/>
              <a:gd name="connsiteX1" fmla="*/ 3446 w 10740"/>
              <a:gd name="connsiteY1" fmla="*/ 0 h 10015"/>
              <a:gd name="connsiteX2" fmla="*/ 3120 w 10740"/>
              <a:gd name="connsiteY2" fmla="*/ 217 h 10015"/>
              <a:gd name="connsiteX3" fmla="*/ 614 w 10740"/>
              <a:gd name="connsiteY3" fmla="*/ 4455 h 10015"/>
              <a:gd name="connsiteX4" fmla="*/ 9 w 10740"/>
              <a:gd name="connsiteY4" fmla="*/ 5485 h 10015"/>
              <a:gd name="connsiteX5" fmla="*/ 0 w 10740"/>
              <a:gd name="connsiteY5" fmla="*/ 10000 h 10015"/>
              <a:gd name="connsiteX6" fmla="*/ 0 w 10740"/>
              <a:gd name="connsiteY6" fmla="*/ 10000 h 10015"/>
              <a:gd name="connsiteX7" fmla="*/ 10000 w 10740"/>
              <a:gd name="connsiteY7" fmla="*/ 10015 h 10015"/>
              <a:gd name="connsiteX8" fmla="*/ 9998 w 10740"/>
              <a:gd name="connsiteY8" fmla="*/ 8673 h 10015"/>
              <a:gd name="connsiteX9" fmla="*/ 9998 w 10740"/>
              <a:gd name="connsiteY9" fmla="*/ 8673 h 10015"/>
              <a:gd name="connsiteX10" fmla="*/ 9991 w 10740"/>
              <a:gd name="connsiteY10" fmla="*/ 778 h 10015"/>
              <a:gd name="connsiteX11" fmla="*/ 9527 w 10740"/>
              <a:gd name="connsiteY11" fmla="*/ 0 h 10015"/>
              <a:gd name="connsiteX0" fmla="*/ 9527 w 10740"/>
              <a:gd name="connsiteY0" fmla="*/ 0 h 10015"/>
              <a:gd name="connsiteX1" fmla="*/ 3446 w 10740"/>
              <a:gd name="connsiteY1" fmla="*/ 0 h 10015"/>
              <a:gd name="connsiteX2" fmla="*/ 3120 w 10740"/>
              <a:gd name="connsiteY2" fmla="*/ 217 h 10015"/>
              <a:gd name="connsiteX3" fmla="*/ 614 w 10740"/>
              <a:gd name="connsiteY3" fmla="*/ 4455 h 10015"/>
              <a:gd name="connsiteX4" fmla="*/ 614 w 10740"/>
              <a:gd name="connsiteY4" fmla="*/ 4455 h 10015"/>
              <a:gd name="connsiteX5" fmla="*/ 9 w 10740"/>
              <a:gd name="connsiteY5" fmla="*/ 5485 h 10015"/>
              <a:gd name="connsiteX6" fmla="*/ 0 w 10740"/>
              <a:gd name="connsiteY6" fmla="*/ 10000 h 10015"/>
              <a:gd name="connsiteX7" fmla="*/ 0 w 10740"/>
              <a:gd name="connsiteY7" fmla="*/ 10000 h 10015"/>
              <a:gd name="connsiteX8" fmla="*/ 10000 w 10740"/>
              <a:gd name="connsiteY8" fmla="*/ 10015 h 10015"/>
              <a:gd name="connsiteX9" fmla="*/ 9998 w 10740"/>
              <a:gd name="connsiteY9" fmla="*/ 8673 h 10015"/>
              <a:gd name="connsiteX10" fmla="*/ 9998 w 10740"/>
              <a:gd name="connsiteY10" fmla="*/ 8673 h 10015"/>
              <a:gd name="connsiteX11" fmla="*/ 9991 w 10740"/>
              <a:gd name="connsiteY11" fmla="*/ 778 h 10015"/>
              <a:gd name="connsiteX12" fmla="*/ 9527 w 10740"/>
              <a:gd name="connsiteY12" fmla="*/ 0 h 10015"/>
              <a:gd name="connsiteX0" fmla="*/ 9527 w 10027"/>
              <a:gd name="connsiteY0" fmla="*/ 0 h 10000"/>
              <a:gd name="connsiteX1" fmla="*/ 3446 w 10027"/>
              <a:gd name="connsiteY1" fmla="*/ 0 h 10000"/>
              <a:gd name="connsiteX2" fmla="*/ 3120 w 10027"/>
              <a:gd name="connsiteY2" fmla="*/ 217 h 10000"/>
              <a:gd name="connsiteX3" fmla="*/ 614 w 10027"/>
              <a:gd name="connsiteY3" fmla="*/ 4455 h 10000"/>
              <a:gd name="connsiteX4" fmla="*/ 614 w 10027"/>
              <a:gd name="connsiteY4" fmla="*/ 4455 h 10000"/>
              <a:gd name="connsiteX5" fmla="*/ 9 w 10027"/>
              <a:gd name="connsiteY5" fmla="*/ 5485 h 10000"/>
              <a:gd name="connsiteX6" fmla="*/ 0 w 10027"/>
              <a:gd name="connsiteY6" fmla="*/ 10000 h 10000"/>
              <a:gd name="connsiteX7" fmla="*/ 0 w 10027"/>
              <a:gd name="connsiteY7" fmla="*/ 10000 h 10000"/>
              <a:gd name="connsiteX8" fmla="*/ 9998 w 10027"/>
              <a:gd name="connsiteY8" fmla="*/ 8673 h 10000"/>
              <a:gd name="connsiteX9" fmla="*/ 9998 w 10027"/>
              <a:gd name="connsiteY9" fmla="*/ 8673 h 10000"/>
              <a:gd name="connsiteX10" fmla="*/ 9991 w 10027"/>
              <a:gd name="connsiteY10" fmla="*/ 778 h 10000"/>
              <a:gd name="connsiteX11" fmla="*/ 9527 w 10027"/>
              <a:gd name="connsiteY11" fmla="*/ 0 h 10000"/>
              <a:gd name="connsiteX0" fmla="*/ 9527 w 10027"/>
              <a:gd name="connsiteY0" fmla="*/ 0 h 10000"/>
              <a:gd name="connsiteX1" fmla="*/ 3446 w 10027"/>
              <a:gd name="connsiteY1" fmla="*/ 0 h 10000"/>
              <a:gd name="connsiteX2" fmla="*/ 3120 w 10027"/>
              <a:gd name="connsiteY2" fmla="*/ 217 h 10000"/>
              <a:gd name="connsiteX3" fmla="*/ 614 w 10027"/>
              <a:gd name="connsiteY3" fmla="*/ 4455 h 10000"/>
              <a:gd name="connsiteX4" fmla="*/ 614 w 10027"/>
              <a:gd name="connsiteY4" fmla="*/ 4455 h 10000"/>
              <a:gd name="connsiteX5" fmla="*/ 0 w 10027"/>
              <a:gd name="connsiteY5" fmla="*/ 10000 h 10000"/>
              <a:gd name="connsiteX6" fmla="*/ 0 w 10027"/>
              <a:gd name="connsiteY6" fmla="*/ 10000 h 10000"/>
              <a:gd name="connsiteX7" fmla="*/ 9998 w 10027"/>
              <a:gd name="connsiteY7" fmla="*/ 8673 h 10000"/>
              <a:gd name="connsiteX8" fmla="*/ 9998 w 10027"/>
              <a:gd name="connsiteY8" fmla="*/ 8673 h 10000"/>
              <a:gd name="connsiteX9" fmla="*/ 9991 w 10027"/>
              <a:gd name="connsiteY9" fmla="*/ 778 h 10000"/>
              <a:gd name="connsiteX10" fmla="*/ 9527 w 10027"/>
              <a:gd name="connsiteY10" fmla="*/ 0 h 10000"/>
              <a:gd name="connsiteX0" fmla="*/ 9527 w 10027"/>
              <a:gd name="connsiteY0" fmla="*/ 0 h 10000"/>
              <a:gd name="connsiteX1" fmla="*/ 3446 w 10027"/>
              <a:gd name="connsiteY1" fmla="*/ 0 h 10000"/>
              <a:gd name="connsiteX2" fmla="*/ 3120 w 10027"/>
              <a:gd name="connsiteY2" fmla="*/ 217 h 10000"/>
              <a:gd name="connsiteX3" fmla="*/ 614 w 10027"/>
              <a:gd name="connsiteY3" fmla="*/ 4455 h 10000"/>
              <a:gd name="connsiteX4" fmla="*/ 614 w 10027"/>
              <a:gd name="connsiteY4" fmla="*/ 4455 h 10000"/>
              <a:gd name="connsiteX5" fmla="*/ 0 w 10027"/>
              <a:gd name="connsiteY5" fmla="*/ 10000 h 10000"/>
              <a:gd name="connsiteX6" fmla="*/ 610 w 10027"/>
              <a:gd name="connsiteY6" fmla="*/ 8624 h 10000"/>
              <a:gd name="connsiteX7" fmla="*/ 9998 w 10027"/>
              <a:gd name="connsiteY7" fmla="*/ 8673 h 10000"/>
              <a:gd name="connsiteX8" fmla="*/ 9998 w 10027"/>
              <a:gd name="connsiteY8" fmla="*/ 8673 h 10000"/>
              <a:gd name="connsiteX9" fmla="*/ 9991 w 10027"/>
              <a:gd name="connsiteY9" fmla="*/ 778 h 10000"/>
              <a:gd name="connsiteX10" fmla="*/ 9527 w 10027"/>
              <a:gd name="connsiteY10" fmla="*/ 0 h 10000"/>
              <a:gd name="connsiteX0" fmla="*/ 9611 w 10111"/>
              <a:gd name="connsiteY0" fmla="*/ 0 h 8673"/>
              <a:gd name="connsiteX1" fmla="*/ 3530 w 10111"/>
              <a:gd name="connsiteY1" fmla="*/ 0 h 8673"/>
              <a:gd name="connsiteX2" fmla="*/ 3204 w 10111"/>
              <a:gd name="connsiteY2" fmla="*/ 217 h 8673"/>
              <a:gd name="connsiteX3" fmla="*/ 698 w 10111"/>
              <a:gd name="connsiteY3" fmla="*/ 4455 h 8673"/>
              <a:gd name="connsiteX4" fmla="*/ 698 w 10111"/>
              <a:gd name="connsiteY4" fmla="*/ 4455 h 8673"/>
              <a:gd name="connsiteX5" fmla="*/ 694 w 10111"/>
              <a:gd name="connsiteY5" fmla="*/ 8624 h 8673"/>
              <a:gd name="connsiteX6" fmla="*/ 10082 w 10111"/>
              <a:gd name="connsiteY6" fmla="*/ 8673 h 8673"/>
              <a:gd name="connsiteX7" fmla="*/ 10082 w 10111"/>
              <a:gd name="connsiteY7" fmla="*/ 8673 h 8673"/>
              <a:gd name="connsiteX8" fmla="*/ 10075 w 10111"/>
              <a:gd name="connsiteY8" fmla="*/ 778 h 8673"/>
              <a:gd name="connsiteX9" fmla="*/ 9611 w 10111"/>
              <a:gd name="connsiteY9" fmla="*/ 0 h 8673"/>
              <a:gd name="connsiteX0" fmla="*/ 9505 w 10000"/>
              <a:gd name="connsiteY0" fmla="*/ 0 h 10000"/>
              <a:gd name="connsiteX1" fmla="*/ 3491 w 10000"/>
              <a:gd name="connsiteY1" fmla="*/ 0 h 10000"/>
              <a:gd name="connsiteX2" fmla="*/ 3169 w 10000"/>
              <a:gd name="connsiteY2" fmla="*/ 250 h 10000"/>
              <a:gd name="connsiteX3" fmla="*/ 690 w 10000"/>
              <a:gd name="connsiteY3" fmla="*/ 5137 h 10000"/>
              <a:gd name="connsiteX4" fmla="*/ 690 w 10000"/>
              <a:gd name="connsiteY4" fmla="*/ 5137 h 10000"/>
              <a:gd name="connsiteX5" fmla="*/ 686 w 10000"/>
              <a:gd name="connsiteY5" fmla="*/ 9957 h 10000"/>
              <a:gd name="connsiteX6" fmla="*/ 9971 w 10000"/>
              <a:gd name="connsiteY6" fmla="*/ 10000 h 10000"/>
              <a:gd name="connsiteX7" fmla="*/ 9971 w 10000"/>
              <a:gd name="connsiteY7" fmla="*/ 10000 h 10000"/>
              <a:gd name="connsiteX8" fmla="*/ 9964 w 10000"/>
              <a:gd name="connsiteY8" fmla="*/ 897 h 10000"/>
              <a:gd name="connsiteX9" fmla="*/ 9505 w 10000"/>
              <a:gd name="connsiteY9" fmla="*/ 0 h 10000"/>
              <a:gd name="connsiteX0" fmla="*/ 8819 w 9314"/>
              <a:gd name="connsiteY0" fmla="*/ 0 h 10000"/>
              <a:gd name="connsiteX1" fmla="*/ 2805 w 9314"/>
              <a:gd name="connsiteY1" fmla="*/ 0 h 10000"/>
              <a:gd name="connsiteX2" fmla="*/ 2483 w 9314"/>
              <a:gd name="connsiteY2" fmla="*/ 250 h 10000"/>
              <a:gd name="connsiteX3" fmla="*/ 4 w 9314"/>
              <a:gd name="connsiteY3" fmla="*/ 5137 h 10000"/>
              <a:gd name="connsiteX4" fmla="*/ 0 w 9314"/>
              <a:gd name="connsiteY4" fmla="*/ 9957 h 10000"/>
              <a:gd name="connsiteX5" fmla="*/ 9285 w 9314"/>
              <a:gd name="connsiteY5" fmla="*/ 10000 h 10000"/>
              <a:gd name="connsiteX6" fmla="*/ 9285 w 9314"/>
              <a:gd name="connsiteY6" fmla="*/ 10000 h 10000"/>
              <a:gd name="connsiteX7" fmla="*/ 9278 w 9314"/>
              <a:gd name="connsiteY7" fmla="*/ 897 h 10000"/>
              <a:gd name="connsiteX8" fmla="*/ 8819 w 9314"/>
              <a:gd name="connsiteY8" fmla="*/ 0 h 10000"/>
              <a:gd name="connsiteX0" fmla="*/ 9483 w 10014"/>
              <a:gd name="connsiteY0" fmla="*/ 0 h 10000"/>
              <a:gd name="connsiteX1" fmla="*/ 3026 w 10014"/>
              <a:gd name="connsiteY1" fmla="*/ 0 h 10000"/>
              <a:gd name="connsiteX2" fmla="*/ 2680 w 10014"/>
              <a:gd name="connsiteY2" fmla="*/ 250 h 10000"/>
              <a:gd name="connsiteX3" fmla="*/ 18 w 10014"/>
              <a:gd name="connsiteY3" fmla="*/ 5137 h 10000"/>
              <a:gd name="connsiteX4" fmla="*/ 0 w 10014"/>
              <a:gd name="connsiteY4" fmla="*/ 9970 h 10000"/>
              <a:gd name="connsiteX5" fmla="*/ 9983 w 10014"/>
              <a:gd name="connsiteY5" fmla="*/ 10000 h 10000"/>
              <a:gd name="connsiteX6" fmla="*/ 9983 w 10014"/>
              <a:gd name="connsiteY6" fmla="*/ 10000 h 10000"/>
              <a:gd name="connsiteX7" fmla="*/ 9975 w 10014"/>
              <a:gd name="connsiteY7" fmla="*/ 897 h 10000"/>
              <a:gd name="connsiteX8" fmla="*/ 9483 w 1001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14" h="10000">
                <a:moveTo>
                  <a:pt x="9483" y="0"/>
                </a:moveTo>
                <a:lnTo>
                  <a:pt x="3026" y="0"/>
                </a:lnTo>
                <a:cubicBezTo>
                  <a:pt x="2826" y="-2"/>
                  <a:pt x="2773" y="78"/>
                  <a:pt x="2680" y="250"/>
                </a:cubicBezTo>
                <a:lnTo>
                  <a:pt x="18" y="5137"/>
                </a:lnTo>
                <a:cubicBezTo>
                  <a:pt x="17" y="6744"/>
                  <a:pt x="1" y="8363"/>
                  <a:pt x="0" y="9970"/>
                </a:cubicBezTo>
                <a:lnTo>
                  <a:pt x="9983" y="10000"/>
                </a:lnTo>
                <a:lnTo>
                  <a:pt x="9983" y="10000"/>
                </a:lnTo>
                <a:cubicBezTo>
                  <a:pt x="9982" y="8483"/>
                  <a:pt x="10060" y="2564"/>
                  <a:pt x="9975" y="897"/>
                </a:cubicBezTo>
                <a:cubicBezTo>
                  <a:pt x="9975" y="400"/>
                  <a:pt x="9761" y="0"/>
                  <a:pt x="9483" y="0"/>
                </a:cubicBezTo>
              </a:path>
            </a:pathLst>
          </a:custGeom>
          <a:solidFill>
            <a:srgbClr val="333C46"/>
          </a:solidFill>
          <a:ln>
            <a:noFill/>
          </a:ln>
        </p:spPr>
        <p:txBody>
          <a:bodyPr vert="horz" wrap="square" lIns="68583" tIns="34291" rIns="68583" bIns="34291" numCol="1" anchor="t" anchorCtr="0" compatLnSpc="1">
            <a:prstTxWarp prst="textNoShape">
              <a:avLst/>
            </a:prstTxWarp>
          </a:bodyPr>
          <a:lstStyle/>
          <a:p>
            <a:endParaRPr lang="en-GB" sz="1786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D1B77C0F-8CEC-4B65-A167-0C271D6404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09921" y="4443159"/>
            <a:ext cx="7119522" cy="988355"/>
          </a:xfrm>
        </p:spPr>
        <p:txBody>
          <a:bodyPr/>
          <a:lstStyle>
            <a:lvl1pPr marL="0" indent="0">
              <a:buNone/>
              <a:defRPr sz="2925">
                <a:solidFill>
                  <a:srgbClr val="26D07C"/>
                </a:solidFill>
              </a:defRPr>
            </a:lvl1pPr>
          </a:lstStyle>
          <a:p>
            <a:r>
              <a:rPr lang="en-GB" kern="0">
                <a:latin typeface="Arial"/>
                <a:ea typeface="Calibri" panose="020F0502020204030204" pitchFamily="34" charset="0"/>
                <a:cs typeface="Arial"/>
              </a:rPr>
              <a:t>Second line in accent colour</a:t>
            </a:r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255646D-CDA1-4BC0-B0FC-BE60EB0E8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9920" y="3245994"/>
            <a:ext cx="6841244" cy="1172293"/>
          </a:xfrm>
        </p:spPr>
        <p:txBody>
          <a:bodyPr/>
          <a:lstStyle>
            <a:lvl1pPr marL="0" indent="0">
              <a:buNone/>
              <a:defRPr sz="2925"/>
            </a:lvl1pPr>
          </a:lstStyle>
          <a:p>
            <a:r>
              <a:rPr lang="en-GB" kern="0">
                <a:solidFill>
                  <a:schemeClr val="bg2"/>
                </a:solidFill>
                <a:latin typeface="Arial"/>
                <a:ea typeface="Calibri" panose="020F0502020204030204" pitchFamily="34" charset="0"/>
                <a:cs typeface="Arial"/>
              </a:rPr>
              <a:t>Divider title option 1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BA766-39AE-4AC1-90B9-F81D65DA3EF5}"/>
              </a:ext>
            </a:extLst>
          </p:cNvPr>
          <p:cNvCxnSpPr/>
          <p:nvPr userDrawn="1"/>
        </p:nvCxnSpPr>
        <p:spPr>
          <a:xfrm>
            <a:off x="-1" y="6426000"/>
            <a:ext cx="12192002" cy="0"/>
          </a:xfrm>
          <a:prstGeom prst="line">
            <a:avLst/>
          </a:prstGeom>
          <a:ln w="139700">
            <a:solidFill>
              <a:srgbClr val="5726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A1494D5-427A-4540-BD89-CA8C8C1765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43665" y="6588002"/>
            <a:ext cx="2352675" cy="16033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pPr lvl="0"/>
            <a:r>
              <a:rPr lang="en-US"/>
              <a:t>Enter security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10869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nly slide, on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E89F6-F277-4999-9350-AC7830201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xt only slide, one column 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D3A3D7-A9A3-4FB2-8C17-05FD6FA5A3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01B2B2-3B32-4177-9645-58C2813D6AA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784B00-AE80-4F8B-8B2E-40C47D8F9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000" y="6588001"/>
            <a:ext cx="3754800" cy="160950"/>
          </a:xfrm>
        </p:spPr>
        <p:txBody>
          <a:bodyPr/>
          <a:lstStyle/>
          <a:p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D6823D8-A9ED-4BF0-8B55-6F2706AE49AE}"/>
              </a:ext>
            </a:extLst>
          </p:cNvPr>
          <p:cNvCxnSpPr/>
          <p:nvPr userDrawn="1"/>
        </p:nvCxnSpPr>
        <p:spPr>
          <a:xfrm>
            <a:off x="-1" y="6426000"/>
            <a:ext cx="12192002" cy="0"/>
          </a:xfrm>
          <a:prstGeom prst="line">
            <a:avLst/>
          </a:prstGeom>
          <a:ln w="139700">
            <a:solidFill>
              <a:srgbClr val="5726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8B6322-5B94-40B6-87F6-27D31D3B8B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43665" y="6588002"/>
            <a:ext cx="2352675" cy="16033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pPr lvl="0"/>
            <a:r>
              <a:rPr lang="en-US"/>
              <a:t>Enter security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1660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C338A7E-42A5-538F-FEB5-7E3AB2F6899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56381" y="924560"/>
            <a:ext cx="11679238" cy="5431792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24BB2D54-F9B0-C74A-DDA6-8E2D94F5FF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88000"/>
            <a:ext cx="165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Vision Acceleration Session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DFD486A8-0CB3-E661-9832-9166067CA14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800000" y="6588000"/>
            <a:ext cx="1080000" cy="180000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5C01B2B2-3B32-4177-9645-58C2813D6AA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D873C006-5ECE-B957-D572-FFAA9AA53065}"/>
              </a:ext>
            </a:extLst>
          </p:cNvPr>
          <p:cNvSpPr txBox="1">
            <a:spLocks/>
          </p:cNvSpPr>
          <p:nvPr userDrawn="1"/>
        </p:nvSpPr>
        <p:spPr>
          <a:xfrm>
            <a:off x="5718000" y="6588000"/>
            <a:ext cx="75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pt-PT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18004161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nly slide, on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E89F6-F277-4999-9350-AC7830201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xt only slide, one column 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D3A3D7-A9A3-4FB2-8C17-05FD6FA5A3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01B2B2-3B32-4177-9645-58C2813D6AA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784B00-AE80-4F8B-8B2E-40C47D8F9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000" y="6588001"/>
            <a:ext cx="3754800" cy="160950"/>
          </a:xfrm>
        </p:spPr>
        <p:txBody>
          <a:bodyPr/>
          <a:lstStyle/>
          <a:p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D6823D8-A9ED-4BF0-8B55-6F2706AE49AE}"/>
              </a:ext>
            </a:extLst>
          </p:cNvPr>
          <p:cNvCxnSpPr/>
          <p:nvPr userDrawn="1"/>
        </p:nvCxnSpPr>
        <p:spPr>
          <a:xfrm>
            <a:off x="-1" y="6426000"/>
            <a:ext cx="12192002" cy="0"/>
          </a:xfrm>
          <a:prstGeom prst="line">
            <a:avLst/>
          </a:prstGeom>
          <a:ln w="139700">
            <a:solidFill>
              <a:srgbClr val="5726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8B6322-5B94-40B6-87F6-27D31D3B8B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43665" y="6588002"/>
            <a:ext cx="2352675" cy="16033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pPr lvl="0"/>
            <a:r>
              <a:rPr lang="en-US"/>
              <a:t>Enter security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7597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with filled background">
    <p:bg>
      <p:bgPr>
        <a:solidFill>
          <a:srgbClr val="124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D3A3D7-A9A3-4FB2-8C17-05FD6FA5A3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01B2B2-3B32-4177-9645-58C2813D6AA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784B00-AE80-4F8B-8B2E-40C47D8F9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000" y="6588001"/>
            <a:ext cx="3754800" cy="1609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D6823D8-A9ED-4BF0-8B55-6F2706AE49AE}"/>
              </a:ext>
            </a:extLst>
          </p:cNvPr>
          <p:cNvCxnSpPr/>
          <p:nvPr userDrawn="1"/>
        </p:nvCxnSpPr>
        <p:spPr>
          <a:xfrm>
            <a:off x="-1" y="6426000"/>
            <a:ext cx="12192002" cy="0"/>
          </a:xfrm>
          <a:prstGeom prst="line">
            <a:avLst/>
          </a:prstGeom>
          <a:ln w="139700">
            <a:solidFill>
              <a:srgbClr val="26D0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9E809827-0949-4430-ADBC-FE5DA166929F}"/>
              </a:ext>
            </a:extLst>
          </p:cNvPr>
          <p:cNvSpPr/>
          <p:nvPr userDrawn="1"/>
        </p:nvSpPr>
        <p:spPr>
          <a:xfrm rot="5400000">
            <a:off x="285750" y="-300612"/>
            <a:ext cx="4981575" cy="5553071"/>
          </a:xfrm>
          <a:prstGeom prst="rtTriangle">
            <a:avLst/>
          </a:prstGeom>
          <a:solidFill>
            <a:srgbClr val="1861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86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FFB1CF6-FC8A-4596-8713-12F47D843C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43665" y="6588002"/>
            <a:ext cx="2352675" cy="160338"/>
          </a:xfrm>
        </p:spPr>
        <p:txBody>
          <a:bodyPr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nter security level</a:t>
            </a:r>
            <a:endParaRPr lang="en-GB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FAADC92C-307C-430A-973B-E7261C4B1A1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9662" y="432001"/>
            <a:ext cx="3765141" cy="3568426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E0A64D-15EE-20C7-7EAA-713BFF2CEA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6900" y="4602163"/>
            <a:ext cx="6165850" cy="688975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rgbClr val="2DD573"/>
                </a:solidFill>
              </a:defRPr>
            </a:lvl2pPr>
            <a:lvl3pPr>
              <a:defRPr>
                <a:solidFill>
                  <a:srgbClr val="2DD573"/>
                </a:solidFill>
              </a:defRPr>
            </a:lvl3pPr>
            <a:lvl4pPr>
              <a:defRPr>
                <a:solidFill>
                  <a:srgbClr val="2DD573"/>
                </a:solidFill>
              </a:defRPr>
            </a:lvl4pPr>
            <a:lvl5pPr>
              <a:defRPr>
                <a:solidFill>
                  <a:srgbClr val="2DD573"/>
                </a:solidFill>
              </a:defRPr>
            </a:lvl5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097451B-F135-6EB5-AFF9-ADEA02CBB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6900" y="2623074"/>
            <a:ext cx="6165851" cy="10395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1495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A5D6D4-0DB8-E387-0724-DEEA1CB13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898424-073E-19A3-BAAC-3F2180F6E5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FE649A-61AF-FE0E-708D-5D98F16E67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2ABDD43-BD26-4F14-A73E-8C90C8AF5751}" type="datetimeFigureOut">
              <a:rPr lang="en-GB" smtClean="0"/>
              <a:t>26/01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D75A05-47B2-ABB3-F481-325776471B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1A5F7A-BF18-3220-F51C-19B969A4A4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449AF93-3D98-48E3-B352-338541707AC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5758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99" r:id="rId2"/>
    <p:sldLayoutId id="2147483808" r:id="rId3"/>
    <p:sldLayoutId id="2147483809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144D1767-378F-D5A2-76F3-9BD5CC24F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66473910"/>
              </p:ext>
            </p:extLst>
          </p:nvPr>
        </p:nvGraphicFramePr>
        <p:xfrm>
          <a:off x="1345" y="1009"/>
          <a:ext cx="1344" cy="10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D1767-378F-D5A2-76F3-9BD5CC24F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45" y="1009"/>
                        <a:ext cx="1344" cy="10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CE608CA-11FB-40F2-8264-B24627E6F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0"/>
            <a:ext cx="11484996" cy="10395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969436B-6CA4-45EA-96FD-783E7AB352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999" y="2160001"/>
            <a:ext cx="11484997" cy="36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 err="1"/>
              <a:t>Eigth</a:t>
            </a:r>
            <a:r>
              <a:rPr lang="en-US"/>
              <a:t> level</a:t>
            </a:r>
            <a:endParaRPr lang="en-GB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3F1FF33-594C-4250-AB2C-C90E3D7ACC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001" y="6588000"/>
            <a:ext cx="107999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algn="r" defTabSz="685799" rtl="0" eaLnBrk="1" latinLnBrk="0" hangingPunct="1">
              <a:defRPr lang="en-GB" sz="900" kern="1200" smtClean="0">
                <a:solidFill>
                  <a:srgbClr val="333C4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5C01B2B2-3B32-4177-9645-58C2813D6AA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FEE25699-23A9-4CCB-85EE-30053CB4BF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88000"/>
            <a:ext cx="4752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333C46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5FED10-6FEE-4CD6-8050-489B6ACFE7C7}"/>
              </a:ext>
            </a:extLst>
          </p:cNvPr>
          <p:cNvSpPr txBox="1"/>
          <p:nvPr userDrawn="1"/>
        </p:nvSpPr>
        <p:spPr>
          <a:xfrm>
            <a:off x="6500" y="7028441"/>
            <a:ext cx="12185503" cy="1500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 defTabSz="685799" rtl="0" eaLnBrk="1" latinLnBrk="0" hangingPunct="1">
              <a:lnSpc>
                <a:spcPct val="100000"/>
              </a:lnSpc>
              <a:spcAft>
                <a:spcPts val="0"/>
              </a:spcAft>
            </a:pP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en-GB" sz="975" i="0"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t efficient </a:t>
            </a: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y to edit Security Markings is to use ‘Find and Replace’.</a:t>
            </a:r>
            <a:endParaRPr lang="en-GB" sz="975" i="0" kern="120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A5D4C76-7384-4EB3-939F-B29DD2B0C8B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06066" y="2502564"/>
            <a:ext cx="3309848" cy="38581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875FB5E-D35F-402E-BD57-7389B46F98BB}"/>
              </a:ext>
            </a:extLst>
          </p:cNvPr>
          <p:cNvSpPr txBox="1"/>
          <p:nvPr userDrawn="1"/>
        </p:nvSpPr>
        <p:spPr>
          <a:xfrm>
            <a:off x="-3406067" y="-48565"/>
            <a:ext cx="3306324" cy="728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ackground and accent colours can be changed using </a:t>
            </a:r>
            <a:r>
              <a:rPr lang="en-GB" sz="975" b="1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ly</a:t>
            </a: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he colour combinations below. </a:t>
            </a:r>
          </a:p>
          <a:p>
            <a:pPr>
              <a:spcAft>
                <a:spcPts val="450"/>
              </a:spcAft>
            </a:pP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ply the same colour combination to all slides. </a:t>
            </a:r>
          </a:p>
          <a:p>
            <a:pPr>
              <a:spcAft>
                <a:spcPts val="450"/>
              </a:spcAft>
            </a:pP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e </a:t>
            </a:r>
            <a:r>
              <a:rPr lang="en-GB" sz="975" b="1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e</a:t>
            </a: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ackground colour and </a:t>
            </a:r>
            <a:r>
              <a:rPr lang="en-GB" sz="975" b="1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e</a:t>
            </a: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ccent colour.</a:t>
            </a:r>
            <a:endParaRPr lang="en-GB" sz="975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8D39A38-A448-46C0-9A6F-7BC3AA4B5184}"/>
              </a:ext>
            </a:extLst>
          </p:cNvPr>
          <p:cNvSpPr txBox="1"/>
          <p:nvPr userDrawn="1"/>
        </p:nvSpPr>
        <p:spPr>
          <a:xfrm>
            <a:off x="-2619375" y="6545105"/>
            <a:ext cx="2487122" cy="4501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  <a:spcAft>
                <a:spcPts val="225"/>
              </a:spcAft>
            </a:pPr>
            <a:r>
              <a:rPr kumimoji="0" lang="en-GB" sz="975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change the footer colour: </a:t>
            </a:r>
            <a:br>
              <a:rPr kumimoji="0" lang="en-GB" sz="975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GB" sz="975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ight click the footer, select ‘format shape’, then ‘fill and line’.</a:t>
            </a:r>
            <a:endParaRPr lang="en-GB" sz="975" i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C1CBCA-D0C9-487E-A4CB-BD8405EFB6B7}"/>
              </a:ext>
            </a:extLst>
          </p:cNvPr>
          <p:cNvSpPr txBox="1"/>
          <p:nvPr userDrawn="1"/>
        </p:nvSpPr>
        <p:spPr>
          <a:xfrm>
            <a:off x="-3406706" y="1635635"/>
            <a:ext cx="3197156" cy="4501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</a:t>
            </a:r>
            <a:r>
              <a:rPr lang="en-GB" sz="975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ange the colour of backgrounds, shapes and lines, use the eyedropper tool and click on the colour blocks below. </a:t>
            </a:r>
            <a:endParaRPr lang="en-GB" sz="975" i="0" kern="120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305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8" r:id="rId2"/>
    <p:sldLayoutId id="2147483803" r:id="rId3"/>
  </p:sldLayoutIdLst>
  <p:txStyles>
    <p:titleStyle>
      <a:lvl1pPr algn="l" defTabSz="685799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rgbClr val="26D07C"/>
          </a:solidFill>
          <a:latin typeface="+mj-lt"/>
          <a:ea typeface="+mj-ea"/>
          <a:cs typeface="+mj-cs"/>
        </a:defRPr>
      </a:lvl1pPr>
    </p:titleStyle>
    <p:bodyStyle>
      <a:lvl1pPr marL="171449" indent="-171449" algn="l" defTabSz="68579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rgbClr val="333F48"/>
          </a:solidFill>
          <a:latin typeface="+mn-lt"/>
          <a:ea typeface="+mn-ea"/>
          <a:cs typeface="+mn-cs"/>
        </a:defRPr>
      </a:lvl1pPr>
      <a:lvl2pPr marL="514349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rgbClr val="333F48"/>
          </a:solidFill>
          <a:latin typeface="+mn-lt"/>
          <a:ea typeface="+mn-ea"/>
          <a:cs typeface="+mn-cs"/>
        </a:defRPr>
      </a:lvl2pPr>
      <a:lvl3pPr marL="857248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rgbClr val="333F48"/>
          </a:solidFill>
          <a:latin typeface="+mn-lt"/>
          <a:ea typeface="+mn-ea"/>
          <a:cs typeface="+mn-cs"/>
        </a:defRPr>
      </a:lvl3pPr>
      <a:lvl4pPr marL="1200147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33F48"/>
          </a:solidFill>
          <a:latin typeface="+mn-lt"/>
          <a:ea typeface="+mn-ea"/>
          <a:cs typeface="+mn-cs"/>
        </a:defRPr>
      </a:lvl4pPr>
      <a:lvl5pPr marL="1543047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33F48"/>
          </a:solidFill>
          <a:latin typeface="+mn-lt"/>
          <a:ea typeface="+mn-ea"/>
          <a:cs typeface="+mn-cs"/>
        </a:defRPr>
      </a:lvl5pPr>
      <a:lvl6pPr marL="1885946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33F48"/>
          </a:solidFill>
          <a:latin typeface="+mn-lt"/>
          <a:ea typeface="+mn-ea"/>
          <a:cs typeface="+mn-cs"/>
        </a:defRPr>
      </a:lvl6pPr>
      <a:lvl7pPr marL="2228846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33F48"/>
          </a:solidFill>
          <a:latin typeface="+mn-lt"/>
          <a:ea typeface="+mn-ea"/>
          <a:cs typeface="+mn-cs"/>
        </a:defRPr>
      </a:lvl7pPr>
      <a:lvl8pPr marL="2571745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33F48"/>
          </a:solidFill>
          <a:latin typeface="+mn-lt"/>
          <a:ea typeface="+mn-ea"/>
          <a:cs typeface="+mn-cs"/>
        </a:defRPr>
      </a:lvl8pPr>
      <a:lvl9pPr marL="2914644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8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7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7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6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5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94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144D1767-378F-D5A2-76F3-9BD5CC24F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66473910"/>
              </p:ext>
            </p:extLst>
          </p:nvPr>
        </p:nvGraphicFramePr>
        <p:xfrm>
          <a:off x="1345" y="1009"/>
          <a:ext cx="1344" cy="10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D1767-378F-D5A2-76F3-9BD5CC24F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45" y="1009"/>
                        <a:ext cx="1344" cy="10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CE608CA-11FB-40F2-8264-B24627E6F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0"/>
            <a:ext cx="11484996" cy="10395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969436B-6CA4-45EA-96FD-783E7AB352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999" y="2160001"/>
            <a:ext cx="11484997" cy="36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 err="1"/>
              <a:t>Eigth</a:t>
            </a:r>
            <a:r>
              <a:rPr lang="en-US"/>
              <a:t> level</a:t>
            </a:r>
            <a:endParaRPr lang="en-GB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3F1FF33-594C-4250-AB2C-C90E3D7ACC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001" y="6588000"/>
            <a:ext cx="107999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algn="r" defTabSz="685799" rtl="0" eaLnBrk="1" latinLnBrk="0" hangingPunct="1">
              <a:defRPr lang="en-GB" sz="900" kern="1200" smtClean="0">
                <a:solidFill>
                  <a:srgbClr val="333C4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5C01B2B2-3B32-4177-9645-58C2813D6AA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FEE25699-23A9-4CCB-85EE-30053CB4BF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88000"/>
            <a:ext cx="4752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333C46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5FED10-6FEE-4CD6-8050-489B6ACFE7C7}"/>
              </a:ext>
            </a:extLst>
          </p:cNvPr>
          <p:cNvSpPr txBox="1"/>
          <p:nvPr userDrawn="1"/>
        </p:nvSpPr>
        <p:spPr>
          <a:xfrm>
            <a:off x="6500" y="7028441"/>
            <a:ext cx="12185503" cy="1500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 defTabSz="685799" rtl="0" eaLnBrk="1" latinLnBrk="0" hangingPunct="1">
              <a:lnSpc>
                <a:spcPct val="100000"/>
              </a:lnSpc>
              <a:spcAft>
                <a:spcPts val="0"/>
              </a:spcAft>
            </a:pP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en-GB" sz="975" i="0"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t efficient </a:t>
            </a: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y to edit Security Markings is to use ‘Find and Replace’.</a:t>
            </a:r>
            <a:endParaRPr lang="en-GB" sz="975" i="0" kern="120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A5D4C76-7384-4EB3-939F-B29DD2B0C8B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06066" y="2502564"/>
            <a:ext cx="3309848" cy="38581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875FB5E-D35F-402E-BD57-7389B46F98BB}"/>
              </a:ext>
            </a:extLst>
          </p:cNvPr>
          <p:cNvSpPr txBox="1"/>
          <p:nvPr userDrawn="1"/>
        </p:nvSpPr>
        <p:spPr>
          <a:xfrm>
            <a:off x="-3406067" y="-48565"/>
            <a:ext cx="3306324" cy="728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ackground and accent colours can be changed using </a:t>
            </a:r>
            <a:r>
              <a:rPr lang="en-GB" sz="975" b="1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ly</a:t>
            </a: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he colour combinations below. </a:t>
            </a:r>
          </a:p>
          <a:p>
            <a:pPr>
              <a:spcAft>
                <a:spcPts val="450"/>
              </a:spcAft>
            </a:pP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ply the same colour combination to all slides. </a:t>
            </a:r>
          </a:p>
          <a:p>
            <a:pPr>
              <a:spcAft>
                <a:spcPts val="450"/>
              </a:spcAft>
            </a:pP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e </a:t>
            </a:r>
            <a:r>
              <a:rPr lang="en-GB" sz="975" b="1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e</a:t>
            </a: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ackground colour and </a:t>
            </a:r>
            <a:r>
              <a:rPr lang="en-GB" sz="975" b="1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e</a:t>
            </a: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ccent colour.</a:t>
            </a:r>
            <a:endParaRPr lang="en-GB" sz="975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8D39A38-A448-46C0-9A6F-7BC3AA4B5184}"/>
              </a:ext>
            </a:extLst>
          </p:cNvPr>
          <p:cNvSpPr txBox="1"/>
          <p:nvPr userDrawn="1"/>
        </p:nvSpPr>
        <p:spPr>
          <a:xfrm>
            <a:off x="-2619375" y="6545105"/>
            <a:ext cx="2487122" cy="4501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  <a:spcAft>
                <a:spcPts val="225"/>
              </a:spcAft>
            </a:pPr>
            <a:r>
              <a:rPr kumimoji="0" lang="en-GB" sz="975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change the footer colour: </a:t>
            </a:r>
            <a:br>
              <a:rPr kumimoji="0" lang="en-GB" sz="975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GB" sz="975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ight click the footer, select ‘format shape’, then ‘fill and line’.</a:t>
            </a:r>
            <a:endParaRPr lang="en-GB" sz="975" i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C1CBCA-D0C9-487E-A4CB-BD8405EFB6B7}"/>
              </a:ext>
            </a:extLst>
          </p:cNvPr>
          <p:cNvSpPr txBox="1"/>
          <p:nvPr userDrawn="1"/>
        </p:nvSpPr>
        <p:spPr>
          <a:xfrm>
            <a:off x="-3406706" y="1635635"/>
            <a:ext cx="3197156" cy="4501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GB" sz="975" i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</a:t>
            </a:r>
            <a:r>
              <a:rPr lang="en-GB" sz="975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ange the colour of backgrounds, shapes and lines, use the eyedropper tool and click on the colour blocks below. </a:t>
            </a:r>
            <a:endParaRPr lang="en-GB" sz="975" i="0" kern="120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6304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33" r:id="rId2"/>
    <p:sldLayoutId id="2147483739" r:id="rId3"/>
  </p:sldLayoutIdLst>
  <p:txStyles>
    <p:titleStyle>
      <a:lvl1pPr algn="l" defTabSz="685799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rgbClr val="26D07C"/>
          </a:solidFill>
          <a:latin typeface="+mj-lt"/>
          <a:ea typeface="+mj-ea"/>
          <a:cs typeface="+mj-cs"/>
        </a:defRPr>
      </a:lvl1pPr>
    </p:titleStyle>
    <p:bodyStyle>
      <a:lvl1pPr marL="171449" indent="-171449" algn="l" defTabSz="68579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rgbClr val="333F48"/>
          </a:solidFill>
          <a:latin typeface="+mn-lt"/>
          <a:ea typeface="+mn-ea"/>
          <a:cs typeface="+mn-cs"/>
        </a:defRPr>
      </a:lvl1pPr>
      <a:lvl2pPr marL="514349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rgbClr val="333F48"/>
          </a:solidFill>
          <a:latin typeface="+mn-lt"/>
          <a:ea typeface="+mn-ea"/>
          <a:cs typeface="+mn-cs"/>
        </a:defRPr>
      </a:lvl2pPr>
      <a:lvl3pPr marL="857248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rgbClr val="333F48"/>
          </a:solidFill>
          <a:latin typeface="+mn-lt"/>
          <a:ea typeface="+mn-ea"/>
          <a:cs typeface="+mn-cs"/>
        </a:defRPr>
      </a:lvl3pPr>
      <a:lvl4pPr marL="1200147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33F48"/>
          </a:solidFill>
          <a:latin typeface="+mn-lt"/>
          <a:ea typeface="+mn-ea"/>
          <a:cs typeface="+mn-cs"/>
        </a:defRPr>
      </a:lvl4pPr>
      <a:lvl5pPr marL="1543047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33F48"/>
          </a:solidFill>
          <a:latin typeface="+mn-lt"/>
          <a:ea typeface="+mn-ea"/>
          <a:cs typeface="+mn-cs"/>
        </a:defRPr>
      </a:lvl5pPr>
      <a:lvl6pPr marL="1885946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33F48"/>
          </a:solidFill>
          <a:latin typeface="+mn-lt"/>
          <a:ea typeface="+mn-ea"/>
          <a:cs typeface="+mn-cs"/>
        </a:defRPr>
      </a:lvl6pPr>
      <a:lvl7pPr marL="2228846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33F48"/>
          </a:solidFill>
          <a:latin typeface="+mn-lt"/>
          <a:ea typeface="+mn-ea"/>
          <a:cs typeface="+mn-cs"/>
        </a:defRPr>
      </a:lvl7pPr>
      <a:lvl8pPr marL="2571745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33F48"/>
          </a:solidFill>
          <a:latin typeface="+mn-lt"/>
          <a:ea typeface="+mn-ea"/>
          <a:cs typeface="+mn-cs"/>
        </a:defRPr>
      </a:lvl8pPr>
      <a:lvl9pPr marL="2914644" indent="-171449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8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7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7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6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5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94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0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sv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svg"/><Relationship Id="rId4" Type="http://schemas.openxmlformats.org/officeDocument/2006/relationships/image" Target="../media/image8.svg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91">
            <a:extLst>
              <a:ext uri="{FF2B5EF4-FFF2-40B4-BE49-F238E27FC236}">
                <a16:creationId xmlns:a16="http://schemas.microsoft.com/office/drawing/2014/main" id="{8D41B006-F10B-1724-8A00-2AD2279059F4}"/>
              </a:ext>
            </a:extLst>
          </p:cNvPr>
          <p:cNvSpPr/>
          <p:nvPr/>
        </p:nvSpPr>
        <p:spPr>
          <a:xfrm>
            <a:off x="-2151" y="-1"/>
            <a:ext cx="12192002" cy="6857999"/>
          </a:xfrm>
          <a:custGeom>
            <a:avLst/>
            <a:gdLst/>
            <a:ahLst/>
            <a:cxnLst/>
            <a:rect l="l" t="t" r="r" b="b"/>
            <a:pathLst>
              <a:path w="3470275" h="2639695">
                <a:moveTo>
                  <a:pt x="3469971" y="0"/>
                </a:moveTo>
                <a:lnTo>
                  <a:pt x="430239" y="0"/>
                </a:lnTo>
                <a:lnTo>
                  <a:pt x="64414" y="366863"/>
                </a:lnTo>
                <a:lnTo>
                  <a:pt x="36947" y="400361"/>
                </a:lnTo>
                <a:lnTo>
                  <a:pt x="16738" y="438215"/>
                </a:lnTo>
                <a:lnTo>
                  <a:pt x="4264" y="479273"/>
                </a:lnTo>
                <a:lnTo>
                  <a:pt x="0" y="522387"/>
                </a:lnTo>
                <a:lnTo>
                  <a:pt x="0" y="2419285"/>
                </a:lnTo>
                <a:lnTo>
                  <a:pt x="4468" y="2463609"/>
                </a:lnTo>
                <a:lnTo>
                  <a:pt x="17284" y="2504894"/>
                </a:lnTo>
                <a:lnTo>
                  <a:pt x="37563" y="2542256"/>
                </a:lnTo>
                <a:lnTo>
                  <a:pt x="64420" y="2574809"/>
                </a:lnTo>
                <a:lnTo>
                  <a:pt x="96971" y="2601668"/>
                </a:lnTo>
                <a:lnTo>
                  <a:pt x="134331" y="2621949"/>
                </a:lnTo>
                <a:lnTo>
                  <a:pt x="175615" y="2634767"/>
                </a:lnTo>
                <a:lnTo>
                  <a:pt x="219938" y="2639236"/>
                </a:lnTo>
                <a:lnTo>
                  <a:pt x="2117775" y="2639223"/>
                </a:lnTo>
                <a:lnTo>
                  <a:pt x="2160882" y="2634959"/>
                </a:lnTo>
                <a:lnTo>
                  <a:pt x="2201937" y="2622483"/>
                </a:lnTo>
                <a:lnTo>
                  <a:pt x="2239789" y="2602270"/>
                </a:lnTo>
                <a:lnTo>
                  <a:pt x="2273287" y="2574796"/>
                </a:lnTo>
                <a:lnTo>
                  <a:pt x="3469971" y="1375162"/>
                </a:lnTo>
                <a:lnTo>
                  <a:pt x="3469971" y="0"/>
                </a:lnTo>
                <a:close/>
              </a:path>
            </a:pathLst>
          </a:custGeom>
          <a:solidFill>
            <a:srgbClr val="57263B"/>
          </a:solidFill>
          <a:ln>
            <a:solidFill>
              <a:srgbClr val="57263B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 descr="A group of people looking at a screen&#10;&#10;Description automatically generated">
            <a:extLst>
              <a:ext uri="{FF2B5EF4-FFF2-40B4-BE49-F238E27FC236}">
                <a16:creationId xmlns:a16="http://schemas.microsoft.com/office/drawing/2014/main" id="{D3E265BC-CB9D-04DF-205E-4B4308E705E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" r="13900" b="33667"/>
          <a:stretch/>
        </p:blipFill>
        <p:spPr bwMode="auto">
          <a:xfrm>
            <a:off x="-55419" y="-1"/>
            <a:ext cx="12469092" cy="317667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9BAC360-799D-D7C3-3CE9-0A41AEB37299}"/>
              </a:ext>
            </a:extLst>
          </p:cNvPr>
          <p:cNvSpPr txBox="1">
            <a:spLocks/>
          </p:cNvSpPr>
          <p:nvPr/>
        </p:nvSpPr>
        <p:spPr>
          <a:xfrm>
            <a:off x="48412" y="4805718"/>
            <a:ext cx="10150605" cy="170425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GB" sz="3200" b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Director People Transformation</a:t>
            </a:r>
          </a:p>
          <a:p>
            <a:pPr marL="0" indent="0">
              <a:buNone/>
              <a:defRPr/>
            </a:pPr>
            <a:r>
              <a:rPr lang="en-GB" sz="3200">
                <a:solidFill>
                  <a:prstClr val="white"/>
                </a:solidFill>
                <a:latin typeface="Arial" panose="020B0604020202020204"/>
                <a:cs typeface="Arial"/>
              </a:rPr>
              <a:t>Ministry of Defence </a:t>
            </a:r>
            <a:endParaRPr lang="en-GB" sz="3200" b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0" indent="0">
              <a:buNone/>
              <a:defRPr/>
            </a:pPr>
            <a:r>
              <a:rPr lang="en-GB" sz="2400">
                <a:solidFill>
                  <a:prstClr val="white"/>
                </a:solidFill>
                <a:latin typeface="Arial" panose="020B0604020202020204"/>
                <a:cs typeface="Arial"/>
              </a:rPr>
              <a:t>Dr James Cook OBE</a:t>
            </a:r>
            <a:endParaRPr lang="en-GB" sz="2400" b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D57B993-EE59-5A58-1220-AB77AA0E7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2839" y="4457698"/>
            <a:ext cx="1649095" cy="240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72228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A2D769-0975-803A-ADD6-3706B002FD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9CEB9EC-6756-61E3-287A-7A56B444C830}"/>
              </a:ext>
            </a:extLst>
          </p:cNvPr>
          <p:cNvSpPr txBox="1">
            <a:spLocks/>
          </p:cNvSpPr>
          <p:nvPr/>
        </p:nvSpPr>
        <p:spPr>
          <a:xfrm>
            <a:off x="702600" y="405528"/>
            <a:ext cx="10873877" cy="65524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84" name="Rectangle: Rounded Corners 8">
            <a:extLst>
              <a:ext uri="{FF2B5EF4-FFF2-40B4-BE49-F238E27FC236}">
                <a16:creationId xmlns:a16="http://schemas.microsoft.com/office/drawing/2014/main" id="{58789225-3F0C-EA63-6BB5-8F860AC18556}"/>
              </a:ext>
            </a:extLst>
          </p:cNvPr>
          <p:cNvSpPr/>
          <p:nvPr/>
        </p:nvSpPr>
        <p:spPr>
          <a:xfrm>
            <a:off x="3137621" y="70264"/>
            <a:ext cx="8947902" cy="130428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57263B"/>
          </a:solidFill>
          <a:ln w="57150" cap="flat">
            <a:solidFill>
              <a:srgbClr val="C9D0D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/>
                <a:ea typeface="+mn-ea"/>
                <a:cs typeface="Arial" pitchFamily="34"/>
              </a:rPr>
              <a:t>People as a Capability </a:t>
            </a:r>
          </a:p>
        </p:txBody>
      </p:sp>
      <p:sp>
        <p:nvSpPr>
          <p:cNvPr id="204" name="Title 3">
            <a:extLst>
              <a:ext uri="{FF2B5EF4-FFF2-40B4-BE49-F238E27FC236}">
                <a16:creationId xmlns:a16="http://schemas.microsoft.com/office/drawing/2014/main" id="{0BF14FFC-7219-5CA3-AF15-0A58803B6E65}"/>
              </a:ext>
            </a:extLst>
          </p:cNvPr>
          <p:cNvSpPr txBox="1">
            <a:spLocks/>
          </p:cNvSpPr>
          <p:nvPr/>
        </p:nvSpPr>
        <p:spPr>
          <a:xfrm>
            <a:off x="279084" y="1198421"/>
            <a:ext cx="3480434" cy="44611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itchFamily="34"/>
                <a:ea typeface="+mj-ea"/>
                <a:cs typeface="+mj-cs"/>
              </a:rPr>
              <a:t>Corporate Services Modernisation is critical to Defence</a:t>
            </a:r>
          </a:p>
        </p:txBody>
      </p:sp>
      <p:sp>
        <p:nvSpPr>
          <p:cNvPr id="206" name="Flowchart: Delay 205">
            <a:extLst>
              <a:ext uri="{FF2B5EF4-FFF2-40B4-BE49-F238E27FC236}">
                <a16:creationId xmlns:a16="http://schemas.microsoft.com/office/drawing/2014/main" id="{86950541-95E4-846E-A1D4-1BF64B523A16}"/>
              </a:ext>
            </a:extLst>
          </p:cNvPr>
          <p:cNvSpPr/>
          <p:nvPr/>
        </p:nvSpPr>
        <p:spPr>
          <a:xfrm>
            <a:off x="0" y="9706"/>
            <a:ext cx="3654455" cy="6452472"/>
          </a:xfrm>
          <a:prstGeom prst="flowChartDelay">
            <a:avLst/>
          </a:prstGeom>
          <a:solidFill>
            <a:srgbClr val="57263B"/>
          </a:solidFill>
          <a:ln w="57150">
            <a:solidFill>
              <a:srgbClr val="57263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F4CDA0C-B909-4A9D-C66C-4DE643F55AF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01B2B2-3B32-4177-9645-58C2813D6A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ED3C103-CCF3-AAD4-D9B7-F8C911CA792A}"/>
              </a:ext>
            </a:extLst>
          </p:cNvPr>
          <p:cNvCxnSpPr/>
          <p:nvPr/>
        </p:nvCxnSpPr>
        <p:spPr>
          <a:xfrm>
            <a:off x="-2" y="6426000"/>
            <a:ext cx="12192002" cy="0"/>
          </a:xfrm>
          <a:prstGeom prst="line">
            <a:avLst/>
          </a:prstGeom>
          <a:ln w="139700">
            <a:solidFill>
              <a:srgbClr val="532A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CBA44C9-E772-23EC-6154-738E466817B4}"/>
              </a:ext>
            </a:extLst>
          </p:cNvPr>
          <p:cNvSpPr txBox="1"/>
          <p:nvPr/>
        </p:nvSpPr>
        <p:spPr>
          <a:xfrm>
            <a:off x="4089399" y="2387600"/>
            <a:ext cx="779060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i="1"/>
              <a:t>“Digitising Defence for decision advantage is not just about sensors, platforms, and AI. </a:t>
            </a:r>
          </a:p>
          <a:p>
            <a:endParaRPr lang="en-GB" sz="2800" i="1"/>
          </a:p>
          <a:p>
            <a:r>
              <a:rPr lang="en-GB" sz="2800" i="1"/>
              <a:t>It is about whether we understand our people as a strategic capability, not simply a cost.”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787488-3A2D-3A6A-08FA-80A6AA63EDBE}"/>
              </a:ext>
            </a:extLst>
          </p:cNvPr>
          <p:cNvSpPr txBox="1"/>
          <p:nvPr/>
        </p:nvSpPr>
        <p:spPr>
          <a:xfrm>
            <a:off x="268415" y="1765075"/>
            <a:ext cx="2861272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Leveraging data-driven insights to build a modern, agile, and adaptable defence workforce</a:t>
            </a:r>
          </a:p>
          <a:p>
            <a:endParaRPr lang="en-GB" sz="2000" b="1">
              <a:solidFill>
                <a:schemeClr val="bg1"/>
              </a:solidFill>
              <a:latin typeface="Arial"/>
              <a:cs typeface="Arial"/>
            </a:endParaRPr>
          </a:p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Integrating digital tools and HR systems to enhance efficiency and operational readiness</a:t>
            </a:r>
          </a:p>
        </p:txBody>
      </p:sp>
    </p:spTree>
    <p:extLst>
      <p:ext uri="{BB962C8B-B14F-4D97-AF65-F5344CB8AC3E}">
        <p14:creationId xmlns:p14="http://schemas.microsoft.com/office/powerpoint/2010/main" val="1715276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05571-18FA-BFDF-D540-0C2A72246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51DA27DC-94A1-ED32-AFED-4269CFE860A6}"/>
              </a:ext>
            </a:extLst>
          </p:cNvPr>
          <p:cNvSpPr txBox="1">
            <a:spLocks/>
          </p:cNvSpPr>
          <p:nvPr/>
        </p:nvSpPr>
        <p:spPr>
          <a:xfrm>
            <a:off x="702600" y="405528"/>
            <a:ext cx="10873877" cy="65524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84" name="Rectangle: Rounded Corners 8">
            <a:extLst>
              <a:ext uri="{FF2B5EF4-FFF2-40B4-BE49-F238E27FC236}">
                <a16:creationId xmlns:a16="http://schemas.microsoft.com/office/drawing/2014/main" id="{069C80F9-5192-5A72-EA84-5F63961A883E}"/>
              </a:ext>
            </a:extLst>
          </p:cNvPr>
          <p:cNvSpPr/>
          <p:nvPr/>
        </p:nvSpPr>
        <p:spPr>
          <a:xfrm>
            <a:off x="3137621" y="70264"/>
            <a:ext cx="8947902" cy="130428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57263B"/>
          </a:solidFill>
          <a:ln w="57150" cap="flat">
            <a:solidFill>
              <a:srgbClr val="C9D0D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/>
                <a:ea typeface="+mn-ea"/>
                <a:cs typeface="Arial" pitchFamily="34"/>
              </a:rPr>
              <a:t>People as a Capability </a:t>
            </a:r>
          </a:p>
        </p:txBody>
      </p:sp>
      <p:sp>
        <p:nvSpPr>
          <p:cNvPr id="204" name="Title 3">
            <a:extLst>
              <a:ext uri="{FF2B5EF4-FFF2-40B4-BE49-F238E27FC236}">
                <a16:creationId xmlns:a16="http://schemas.microsoft.com/office/drawing/2014/main" id="{14035820-9A35-4F58-988F-42EFC13D7A2B}"/>
              </a:ext>
            </a:extLst>
          </p:cNvPr>
          <p:cNvSpPr txBox="1">
            <a:spLocks/>
          </p:cNvSpPr>
          <p:nvPr/>
        </p:nvSpPr>
        <p:spPr>
          <a:xfrm>
            <a:off x="279084" y="1198421"/>
            <a:ext cx="3480434" cy="44611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itchFamily="34"/>
                <a:ea typeface="+mj-ea"/>
                <a:cs typeface="+mj-cs"/>
              </a:rPr>
              <a:t>Corporate Services Modernisation is critical to Defence</a:t>
            </a:r>
          </a:p>
        </p:txBody>
      </p:sp>
      <p:sp>
        <p:nvSpPr>
          <p:cNvPr id="206" name="Flowchart: Delay 205">
            <a:extLst>
              <a:ext uri="{FF2B5EF4-FFF2-40B4-BE49-F238E27FC236}">
                <a16:creationId xmlns:a16="http://schemas.microsoft.com/office/drawing/2014/main" id="{932C9C9B-1F9E-B7F3-8C9B-B39A383E30AB}"/>
              </a:ext>
            </a:extLst>
          </p:cNvPr>
          <p:cNvSpPr/>
          <p:nvPr/>
        </p:nvSpPr>
        <p:spPr>
          <a:xfrm>
            <a:off x="0" y="9706"/>
            <a:ext cx="3654455" cy="6452472"/>
          </a:xfrm>
          <a:prstGeom prst="flowChartDelay">
            <a:avLst/>
          </a:prstGeom>
          <a:solidFill>
            <a:srgbClr val="57263B"/>
          </a:solidFill>
          <a:ln w="57150">
            <a:solidFill>
              <a:srgbClr val="57263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1A2801-BC36-4AD3-3504-D6862C5F105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01B2B2-3B32-4177-9645-58C2813D6A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EFF5E9E-1BC9-A3FA-E366-6451138C9CFD}"/>
              </a:ext>
            </a:extLst>
          </p:cNvPr>
          <p:cNvCxnSpPr/>
          <p:nvPr/>
        </p:nvCxnSpPr>
        <p:spPr>
          <a:xfrm>
            <a:off x="-2" y="6426000"/>
            <a:ext cx="12192002" cy="0"/>
          </a:xfrm>
          <a:prstGeom prst="line">
            <a:avLst/>
          </a:prstGeom>
          <a:ln w="139700">
            <a:solidFill>
              <a:srgbClr val="532A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46C6C95-6800-010E-72DD-C35C00F0C3A1}"/>
              </a:ext>
            </a:extLst>
          </p:cNvPr>
          <p:cNvSpPr txBox="1"/>
          <p:nvPr/>
        </p:nvSpPr>
        <p:spPr>
          <a:xfrm>
            <a:off x="268415" y="1765075"/>
            <a:ext cx="2861272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Leveraging data-driven insights to build a modern, agile, and adaptable defence workforce</a:t>
            </a:r>
          </a:p>
          <a:p>
            <a:endParaRPr lang="en-GB" sz="2000" b="1">
              <a:solidFill>
                <a:schemeClr val="bg1"/>
              </a:solidFill>
              <a:latin typeface="Arial"/>
              <a:cs typeface="Arial"/>
            </a:endParaRPr>
          </a:p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Integrating digital tools and HR systems to enhance efficiency and operational readin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8E5A60-4480-B330-171E-06D287214777}"/>
              </a:ext>
            </a:extLst>
          </p:cNvPr>
          <p:cNvSpPr txBox="1"/>
          <p:nvPr/>
        </p:nvSpPr>
        <p:spPr>
          <a:xfrm>
            <a:off x="4089399" y="2387600"/>
            <a:ext cx="7487077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3200"/>
              <a:t>Pan Defence Skills Framewor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3200"/>
              <a:t>Single source of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3200"/>
              <a:t>Policy optimisatio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3200"/>
              <a:t>People Operating Model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3200"/>
              <a:t>Strategic Workforce Planning (SWP)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14379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2F19EF-5896-B1F3-CF48-39AD9C6272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EB50AD7-EC5B-4435-0BD5-564338DD9E1E}"/>
              </a:ext>
            </a:extLst>
          </p:cNvPr>
          <p:cNvSpPr txBox="1">
            <a:spLocks/>
          </p:cNvSpPr>
          <p:nvPr/>
        </p:nvSpPr>
        <p:spPr>
          <a:xfrm>
            <a:off x="702600" y="405528"/>
            <a:ext cx="10873877" cy="65524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84" name="Rectangle: Rounded Corners 8">
            <a:extLst>
              <a:ext uri="{FF2B5EF4-FFF2-40B4-BE49-F238E27FC236}">
                <a16:creationId xmlns:a16="http://schemas.microsoft.com/office/drawing/2014/main" id="{CC630DC3-6163-2D28-FC61-0DEA77D53340}"/>
              </a:ext>
            </a:extLst>
          </p:cNvPr>
          <p:cNvSpPr/>
          <p:nvPr/>
        </p:nvSpPr>
        <p:spPr>
          <a:xfrm>
            <a:off x="3137621" y="70264"/>
            <a:ext cx="8947902" cy="130428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57263B"/>
          </a:solidFill>
          <a:ln w="57150" cap="flat">
            <a:solidFill>
              <a:srgbClr val="C9D0D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/>
                <a:ea typeface="+mn-ea"/>
                <a:cs typeface="Arial" pitchFamily="34"/>
              </a:rPr>
              <a:t>Defence HR Service</a:t>
            </a:r>
          </a:p>
        </p:txBody>
      </p:sp>
      <p:sp>
        <p:nvSpPr>
          <p:cNvPr id="204" name="Title 3">
            <a:extLst>
              <a:ext uri="{FF2B5EF4-FFF2-40B4-BE49-F238E27FC236}">
                <a16:creationId xmlns:a16="http://schemas.microsoft.com/office/drawing/2014/main" id="{7F78A6C0-C667-1823-12E2-59232A369061}"/>
              </a:ext>
            </a:extLst>
          </p:cNvPr>
          <p:cNvSpPr txBox="1">
            <a:spLocks/>
          </p:cNvSpPr>
          <p:nvPr/>
        </p:nvSpPr>
        <p:spPr>
          <a:xfrm>
            <a:off x="279084" y="1198421"/>
            <a:ext cx="3480434" cy="44611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itchFamily="34"/>
                <a:ea typeface="+mj-ea"/>
                <a:cs typeface="+mj-cs"/>
              </a:rPr>
              <a:t>Corporate Services Modernisation is critical to Defence</a:t>
            </a:r>
          </a:p>
        </p:txBody>
      </p:sp>
      <p:sp>
        <p:nvSpPr>
          <p:cNvPr id="206" name="Flowchart: Delay 205">
            <a:extLst>
              <a:ext uri="{FF2B5EF4-FFF2-40B4-BE49-F238E27FC236}">
                <a16:creationId xmlns:a16="http://schemas.microsoft.com/office/drawing/2014/main" id="{40332180-F117-3DE4-5B89-7A3555D94E0E}"/>
              </a:ext>
            </a:extLst>
          </p:cNvPr>
          <p:cNvSpPr/>
          <p:nvPr/>
        </p:nvSpPr>
        <p:spPr>
          <a:xfrm>
            <a:off x="0" y="9706"/>
            <a:ext cx="3654455" cy="6452472"/>
          </a:xfrm>
          <a:prstGeom prst="flowChartDelay">
            <a:avLst/>
          </a:prstGeom>
          <a:solidFill>
            <a:srgbClr val="57263B"/>
          </a:solidFill>
          <a:ln w="57150">
            <a:solidFill>
              <a:srgbClr val="57263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81E2DA-831C-29C5-9C05-369D28ED378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01B2B2-3B32-4177-9645-58C2813D6A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B5F29BA-7109-3635-B401-24A55EF4406E}"/>
              </a:ext>
            </a:extLst>
          </p:cNvPr>
          <p:cNvCxnSpPr/>
          <p:nvPr/>
        </p:nvCxnSpPr>
        <p:spPr>
          <a:xfrm>
            <a:off x="-2" y="6426000"/>
            <a:ext cx="12192002" cy="0"/>
          </a:xfrm>
          <a:prstGeom prst="line">
            <a:avLst/>
          </a:prstGeom>
          <a:ln w="139700">
            <a:solidFill>
              <a:srgbClr val="532A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A5C3D12-CC2C-F76C-B761-913F144C7AD6}"/>
              </a:ext>
            </a:extLst>
          </p:cNvPr>
          <p:cNvSpPr txBox="1"/>
          <p:nvPr/>
        </p:nvSpPr>
        <p:spPr>
          <a:xfrm>
            <a:off x="268415" y="1765075"/>
            <a:ext cx="2861272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Leveraging data-driven insights to build a modern, agile, and adaptable defence workforce</a:t>
            </a:r>
          </a:p>
          <a:p>
            <a:endParaRPr lang="en-GB" sz="2000" b="1">
              <a:solidFill>
                <a:schemeClr val="bg1"/>
              </a:solidFill>
              <a:latin typeface="Arial"/>
              <a:cs typeface="Arial"/>
            </a:endParaRPr>
          </a:p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Integrating digital tools and HR systems to enhance efficiency and operational readin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BB1E98-438F-8EB0-C9D5-228B61E46AD5}"/>
              </a:ext>
            </a:extLst>
          </p:cNvPr>
          <p:cNvSpPr txBox="1"/>
          <p:nvPr/>
        </p:nvSpPr>
        <p:spPr>
          <a:xfrm>
            <a:off x="4089399" y="2387600"/>
            <a:ext cx="799612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/>
              <a:t>Platfo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/>
              <a:t>Software as a Service (</a:t>
            </a:r>
            <a:r>
              <a:rPr lang="en-GB" sz="3200" i="1"/>
              <a:t>Oracle Fusion</a:t>
            </a:r>
            <a:r>
              <a:rPr lang="en-GB" sz="320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/>
              <a:t>Shared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/>
              <a:t>Self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/>
              <a:t>Cultural change</a:t>
            </a:r>
          </a:p>
        </p:txBody>
      </p:sp>
    </p:spTree>
    <p:extLst>
      <p:ext uri="{BB962C8B-B14F-4D97-AF65-F5344CB8AC3E}">
        <p14:creationId xmlns:p14="http://schemas.microsoft.com/office/powerpoint/2010/main" val="2610093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91248E-4184-B72A-3A84-CDF90EBEE6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7433D02-5166-3314-A926-06BBBBFBA36D}"/>
              </a:ext>
            </a:extLst>
          </p:cNvPr>
          <p:cNvSpPr txBox="1">
            <a:spLocks/>
          </p:cNvSpPr>
          <p:nvPr/>
        </p:nvSpPr>
        <p:spPr>
          <a:xfrm>
            <a:off x="702600" y="405528"/>
            <a:ext cx="10873877" cy="65524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84" name="Rectangle: Rounded Corners 8">
            <a:extLst>
              <a:ext uri="{FF2B5EF4-FFF2-40B4-BE49-F238E27FC236}">
                <a16:creationId xmlns:a16="http://schemas.microsoft.com/office/drawing/2014/main" id="{6F8C95E3-F00A-38CE-069D-4C4C10D5F40F}"/>
              </a:ext>
            </a:extLst>
          </p:cNvPr>
          <p:cNvSpPr/>
          <p:nvPr/>
        </p:nvSpPr>
        <p:spPr>
          <a:xfrm>
            <a:off x="3137621" y="70264"/>
            <a:ext cx="8947902" cy="130428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57263B"/>
          </a:solidFill>
          <a:ln w="57150" cap="flat">
            <a:solidFill>
              <a:srgbClr val="C9D0D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/>
                <a:ea typeface="+mn-ea"/>
                <a:cs typeface="Arial" pitchFamily="34"/>
              </a:rPr>
              <a:t>Defence HR Service</a:t>
            </a:r>
          </a:p>
        </p:txBody>
      </p:sp>
      <p:sp>
        <p:nvSpPr>
          <p:cNvPr id="204" name="Title 3">
            <a:extLst>
              <a:ext uri="{FF2B5EF4-FFF2-40B4-BE49-F238E27FC236}">
                <a16:creationId xmlns:a16="http://schemas.microsoft.com/office/drawing/2014/main" id="{F6B7B90D-5D12-9150-CC50-76A07F795C68}"/>
              </a:ext>
            </a:extLst>
          </p:cNvPr>
          <p:cNvSpPr txBox="1">
            <a:spLocks/>
          </p:cNvSpPr>
          <p:nvPr/>
        </p:nvSpPr>
        <p:spPr>
          <a:xfrm>
            <a:off x="279084" y="1198421"/>
            <a:ext cx="3480434" cy="44611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itchFamily="34"/>
                <a:ea typeface="+mj-ea"/>
                <a:cs typeface="+mj-cs"/>
              </a:rPr>
              <a:t>Corporate Services Modernisation is critical to Defence</a:t>
            </a:r>
          </a:p>
        </p:txBody>
      </p:sp>
      <p:sp>
        <p:nvSpPr>
          <p:cNvPr id="206" name="Flowchart: Delay 205">
            <a:extLst>
              <a:ext uri="{FF2B5EF4-FFF2-40B4-BE49-F238E27FC236}">
                <a16:creationId xmlns:a16="http://schemas.microsoft.com/office/drawing/2014/main" id="{CED677F3-E0FC-5D44-5DB4-34CF6EF2DAB5}"/>
              </a:ext>
            </a:extLst>
          </p:cNvPr>
          <p:cNvSpPr/>
          <p:nvPr/>
        </p:nvSpPr>
        <p:spPr>
          <a:xfrm>
            <a:off x="0" y="9706"/>
            <a:ext cx="3654455" cy="6452472"/>
          </a:xfrm>
          <a:prstGeom prst="flowChartDelay">
            <a:avLst/>
          </a:prstGeom>
          <a:solidFill>
            <a:srgbClr val="57263B"/>
          </a:solidFill>
          <a:ln w="57150">
            <a:solidFill>
              <a:srgbClr val="57263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93AB1D-08CA-4E06-74F1-6A79B24911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01B2B2-3B32-4177-9645-58C2813D6A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778046B-AA15-9594-6922-8ACDDB6B0290}"/>
              </a:ext>
            </a:extLst>
          </p:cNvPr>
          <p:cNvCxnSpPr/>
          <p:nvPr/>
        </p:nvCxnSpPr>
        <p:spPr>
          <a:xfrm>
            <a:off x="-2" y="6426000"/>
            <a:ext cx="12192002" cy="0"/>
          </a:xfrm>
          <a:prstGeom prst="line">
            <a:avLst/>
          </a:prstGeom>
          <a:ln w="139700">
            <a:solidFill>
              <a:srgbClr val="532A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1C79F94-38FA-DAD7-E139-A68DE381A692}"/>
              </a:ext>
            </a:extLst>
          </p:cNvPr>
          <p:cNvSpPr txBox="1"/>
          <p:nvPr/>
        </p:nvSpPr>
        <p:spPr>
          <a:xfrm>
            <a:off x="268415" y="1765075"/>
            <a:ext cx="2861272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Leveraging data-driven insights to build a modern, agile, and adaptable defence workforce</a:t>
            </a:r>
          </a:p>
          <a:p>
            <a:endParaRPr lang="en-GB" sz="2000" b="1">
              <a:solidFill>
                <a:schemeClr val="bg1"/>
              </a:solidFill>
              <a:latin typeface="Arial"/>
              <a:cs typeface="Arial"/>
            </a:endParaRPr>
          </a:p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Integrating digital tools and HR systems to enhance efficiency and operational readin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6FF3EB-3C98-2681-94B1-A37D38E51E99}"/>
              </a:ext>
            </a:extLst>
          </p:cNvPr>
          <p:cNvSpPr txBox="1"/>
          <p:nvPr/>
        </p:nvSpPr>
        <p:spPr>
          <a:xfrm>
            <a:off x="4089400" y="2387600"/>
            <a:ext cx="75946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/>
              <a:t>New Annual Assess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/>
              <a:t>Payment of expen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/>
              <a:t>Move and Tr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/>
              <a:t>Tru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200"/>
              <a:t>Digital Talent Marketpl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32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3200"/>
          </a:p>
        </p:txBody>
      </p:sp>
    </p:spTree>
    <p:extLst>
      <p:ext uri="{BB962C8B-B14F-4D97-AF65-F5344CB8AC3E}">
        <p14:creationId xmlns:p14="http://schemas.microsoft.com/office/powerpoint/2010/main" val="31891249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083A67-AF44-CE74-25DB-B80F29CFB1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22E2C64A-4CD7-CAB1-2330-3FC61FE87414}"/>
              </a:ext>
            </a:extLst>
          </p:cNvPr>
          <p:cNvSpPr txBox="1">
            <a:spLocks/>
          </p:cNvSpPr>
          <p:nvPr/>
        </p:nvSpPr>
        <p:spPr>
          <a:xfrm>
            <a:off x="702600" y="405528"/>
            <a:ext cx="10873877" cy="65524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84" name="Rectangle: Rounded Corners 8">
            <a:extLst>
              <a:ext uri="{FF2B5EF4-FFF2-40B4-BE49-F238E27FC236}">
                <a16:creationId xmlns:a16="http://schemas.microsoft.com/office/drawing/2014/main" id="{B33EBF97-1056-F206-2DD8-0F6D741AA985}"/>
              </a:ext>
            </a:extLst>
          </p:cNvPr>
          <p:cNvSpPr/>
          <p:nvPr/>
        </p:nvSpPr>
        <p:spPr>
          <a:xfrm>
            <a:off x="3137621" y="70264"/>
            <a:ext cx="8947902" cy="130428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57263B"/>
          </a:solidFill>
          <a:ln w="57150" cap="flat">
            <a:solidFill>
              <a:srgbClr val="C9D0D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r>
              <a:rPr lang="en-GB" sz="3600" b="1">
                <a:solidFill>
                  <a:schemeClr val="bg1"/>
                </a:solidFill>
                <a:cs typeface="Arial"/>
              </a:rPr>
              <a:t>Digital Talent Marketplace</a:t>
            </a:r>
          </a:p>
        </p:txBody>
      </p:sp>
      <p:sp>
        <p:nvSpPr>
          <p:cNvPr id="193" name="TextBox 26">
            <a:extLst>
              <a:ext uri="{FF2B5EF4-FFF2-40B4-BE49-F238E27FC236}">
                <a16:creationId xmlns:a16="http://schemas.microsoft.com/office/drawing/2014/main" id="{B98052D9-5249-B613-2DA3-377BBE763E64}"/>
              </a:ext>
            </a:extLst>
          </p:cNvPr>
          <p:cNvSpPr txBox="1"/>
          <p:nvPr/>
        </p:nvSpPr>
        <p:spPr>
          <a:xfrm>
            <a:off x="3933539" y="2464322"/>
            <a:ext cx="8151983" cy="22467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cs typeface="Arial" pitchFamily="34"/>
              </a:rPr>
              <a:t>250,000 appointments &amp; </a:t>
            </a:r>
            <a:r>
              <a:rPr lang="en-US" sz="2800">
                <a:solidFill>
                  <a:srgbClr val="000000"/>
                </a:solidFill>
                <a:latin typeface="Aptos" panose="020B0004020202020204" pitchFamily="34" charset="0"/>
                <a:cs typeface="Arial" pitchFamily="34"/>
              </a:rPr>
              <a:t>employe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cs typeface="Arial" pitchFamily="34"/>
              </a:rPr>
              <a:t>Skills based approach (KSEB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800">
                <a:solidFill>
                  <a:srgbClr val="000000"/>
                </a:solidFill>
                <a:latin typeface="Aptos" panose="020B0004020202020204" pitchFamily="34" charset="0"/>
                <a:cs typeface="Arial" pitchFamily="34"/>
              </a:rPr>
              <a:t>Fluid marketpla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cs typeface="Arial" pitchFamily="34"/>
              </a:rPr>
              <a:t>More opportun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800">
                <a:solidFill>
                  <a:srgbClr val="000000"/>
                </a:solidFill>
                <a:latin typeface="Aptos" panose="020B0004020202020204" pitchFamily="34" charset="0"/>
                <a:cs typeface="Arial" pitchFamily="34"/>
              </a:rPr>
              <a:t>Less bias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cs typeface="Arial" pitchFamily="34"/>
              </a:rPr>
              <a:t> </a:t>
            </a: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204" name="Title 3">
            <a:extLst>
              <a:ext uri="{FF2B5EF4-FFF2-40B4-BE49-F238E27FC236}">
                <a16:creationId xmlns:a16="http://schemas.microsoft.com/office/drawing/2014/main" id="{8CB91E5E-8425-4C4C-9021-7EDC8105A621}"/>
              </a:ext>
            </a:extLst>
          </p:cNvPr>
          <p:cNvSpPr txBox="1">
            <a:spLocks/>
          </p:cNvSpPr>
          <p:nvPr/>
        </p:nvSpPr>
        <p:spPr>
          <a:xfrm>
            <a:off x="279084" y="1198421"/>
            <a:ext cx="3480434" cy="44611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itchFamily="34"/>
                <a:ea typeface="+mj-ea"/>
                <a:cs typeface="+mj-cs"/>
              </a:rPr>
              <a:t>Corporate Services Modernisation is critical to Defence</a:t>
            </a:r>
          </a:p>
        </p:txBody>
      </p:sp>
      <p:sp>
        <p:nvSpPr>
          <p:cNvPr id="206" name="Flowchart: Delay 205">
            <a:extLst>
              <a:ext uri="{FF2B5EF4-FFF2-40B4-BE49-F238E27FC236}">
                <a16:creationId xmlns:a16="http://schemas.microsoft.com/office/drawing/2014/main" id="{FC0C75AC-76B0-3FAF-4C53-E97E2AC8DC79}"/>
              </a:ext>
            </a:extLst>
          </p:cNvPr>
          <p:cNvSpPr/>
          <p:nvPr/>
        </p:nvSpPr>
        <p:spPr>
          <a:xfrm>
            <a:off x="0" y="9706"/>
            <a:ext cx="3654455" cy="6452472"/>
          </a:xfrm>
          <a:prstGeom prst="flowChartDelay">
            <a:avLst/>
          </a:prstGeom>
          <a:solidFill>
            <a:srgbClr val="57263B"/>
          </a:solidFill>
          <a:ln w="57150">
            <a:solidFill>
              <a:srgbClr val="57263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D4A2B72-F789-A1BE-548F-F05158EFC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01B2B2-3B32-4177-9645-58C2813D6A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8129EE8-43D6-23D4-0149-6A7CD40F2D6F}"/>
              </a:ext>
            </a:extLst>
          </p:cNvPr>
          <p:cNvCxnSpPr/>
          <p:nvPr/>
        </p:nvCxnSpPr>
        <p:spPr>
          <a:xfrm>
            <a:off x="-2" y="6426000"/>
            <a:ext cx="12192002" cy="0"/>
          </a:xfrm>
          <a:prstGeom prst="line">
            <a:avLst/>
          </a:prstGeom>
          <a:ln w="139700">
            <a:solidFill>
              <a:srgbClr val="532A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3181781C-CB39-923E-F33C-DB0193727F1F}"/>
              </a:ext>
            </a:extLst>
          </p:cNvPr>
          <p:cNvSpPr txBox="1"/>
          <p:nvPr/>
        </p:nvSpPr>
        <p:spPr>
          <a:xfrm>
            <a:off x="268415" y="1765075"/>
            <a:ext cx="2861272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Leveraging data-driven insights to build a modern, agile, and adaptable defence workforce</a:t>
            </a:r>
          </a:p>
          <a:p>
            <a:endParaRPr lang="en-GB" sz="2000" b="1">
              <a:solidFill>
                <a:schemeClr val="bg1"/>
              </a:solidFill>
              <a:latin typeface="Arial"/>
              <a:cs typeface="Arial"/>
            </a:endParaRPr>
          </a:p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Integrating digital tools and HR systems to enhance efficiency and operational readiness</a:t>
            </a:r>
          </a:p>
        </p:txBody>
      </p:sp>
    </p:spTree>
    <p:extLst>
      <p:ext uri="{BB962C8B-B14F-4D97-AF65-F5344CB8AC3E}">
        <p14:creationId xmlns:p14="http://schemas.microsoft.com/office/powerpoint/2010/main" val="16857223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119706-6EB4-7523-EDC1-3DE4FC1DD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77A4F7-5BE9-BB5D-AB8C-CB2B657E43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55000" lnSpcReduction="20000"/>
          </a:bodyPr>
          <a:lstStyle/>
          <a:p>
            <a:endParaRPr lang="en-GB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4454C53-7629-6F17-E144-F332EC9B85CB}"/>
              </a:ext>
            </a:extLst>
          </p:cNvPr>
          <p:cNvSpPr/>
          <p:nvPr/>
        </p:nvSpPr>
        <p:spPr>
          <a:xfrm>
            <a:off x="563527" y="771319"/>
            <a:ext cx="3175200" cy="2833002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57263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57263B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7587D53-D6B4-CEB8-66FD-9B31C7CF5244}"/>
              </a:ext>
            </a:extLst>
          </p:cNvPr>
          <p:cNvSpPr/>
          <p:nvPr/>
        </p:nvSpPr>
        <p:spPr>
          <a:xfrm>
            <a:off x="4343348" y="771320"/>
            <a:ext cx="3175200" cy="2833002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57263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DCEC329-B96B-A6E8-A94B-8898D2E65CFA}"/>
              </a:ext>
            </a:extLst>
          </p:cNvPr>
          <p:cNvSpPr/>
          <p:nvPr/>
        </p:nvSpPr>
        <p:spPr>
          <a:xfrm>
            <a:off x="8123169" y="771319"/>
            <a:ext cx="3176257" cy="2833002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57263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57263B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BFA8710-956B-6B9D-252E-703AB376ECFC}"/>
              </a:ext>
            </a:extLst>
          </p:cNvPr>
          <p:cNvSpPr/>
          <p:nvPr/>
        </p:nvSpPr>
        <p:spPr>
          <a:xfrm>
            <a:off x="1539127" y="262060"/>
            <a:ext cx="1224000" cy="1224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57263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40DF95C-7B26-4F01-D72A-DEF434299534}"/>
              </a:ext>
            </a:extLst>
          </p:cNvPr>
          <p:cNvSpPr/>
          <p:nvPr/>
        </p:nvSpPr>
        <p:spPr>
          <a:xfrm>
            <a:off x="5318948" y="262060"/>
            <a:ext cx="1224000" cy="1224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57263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E66F8D8-4DC7-945E-8869-99157155C7AF}"/>
              </a:ext>
            </a:extLst>
          </p:cNvPr>
          <p:cNvSpPr/>
          <p:nvPr/>
        </p:nvSpPr>
        <p:spPr>
          <a:xfrm>
            <a:off x="9099297" y="262060"/>
            <a:ext cx="1224000" cy="1224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57263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57263B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62D0A9A-BA47-BE5A-D280-9EE6C3DC1AB9}"/>
              </a:ext>
            </a:extLst>
          </p:cNvPr>
          <p:cNvSpPr/>
          <p:nvPr/>
        </p:nvSpPr>
        <p:spPr>
          <a:xfrm>
            <a:off x="700435" y="1624451"/>
            <a:ext cx="2889563" cy="184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2000" b="1" i="1">
                <a:solidFill>
                  <a:srgbClr val="57263B"/>
                </a:solidFill>
              </a:rPr>
              <a:t>Defence Human Resources Service</a:t>
            </a:r>
          </a:p>
          <a:p>
            <a:pPr algn="ctr"/>
            <a:endParaRPr lang="en-GB" sz="2000" b="1" i="1">
              <a:solidFill>
                <a:srgbClr val="57263B"/>
              </a:solidFill>
            </a:endParaRPr>
          </a:p>
          <a:p>
            <a:pPr algn="ctr"/>
            <a:r>
              <a:rPr lang="en-GB" sz="1600" b="1">
                <a:solidFill>
                  <a:srgbClr val="57263B"/>
                </a:solidFill>
              </a:rPr>
              <a:t>Software as a Service underpinning a modern Defenc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926603C-3EBD-C78B-323F-FDA64CAD5AA4}"/>
              </a:ext>
            </a:extLst>
          </p:cNvPr>
          <p:cNvSpPr/>
          <p:nvPr/>
        </p:nvSpPr>
        <p:spPr>
          <a:xfrm>
            <a:off x="4483728" y="1628019"/>
            <a:ext cx="2889563" cy="1704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2000" b="1" i="1">
                <a:solidFill>
                  <a:srgbClr val="57263B"/>
                </a:solidFill>
              </a:rPr>
              <a:t>People Function Operating Model</a:t>
            </a:r>
          </a:p>
          <a:p>
            <a:pPr algn="ctr"/>
            <a:endParaRPr lang="en-GB" sz="2000" b="1" i="1">
              <a:solidFill>
                <a:srgbClr val="57263B"/>
              </a:solidFill>
            </a:endParaRPr>
          </a:p>
          <a:p>
            <a:pPr algn="ctr"/>
            <a:r>
              <a:rPr lang="en-GB" sz="1600" b="1">
                <a:solidFill>
                  <a:srgbClr val="57263B"/>
                </a:solidFill>
              </a:rPr>
              <a:t>An operating model that enhances and enables</a:t>
            </a:r>
            <a:endParaRPr lang="en-GB" b="1">
              <a:solidFill>
                <a:srgbClr val="57263B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96A99DD-16C6-47A5-941D-10F9AD6774F1}"/>
              </a:ext>
            </a:extLst>
          </p:cNvPr>
          <p:cNvSpPr/>
          <p:nvPr/>
        </p:nvSpPr>
        <p:spPr>
          <a:xfrm>
            <a:off x="8266515" y="1624451"/>
            <a:ext cx="2889563" cy="1704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2000" b="1" i="1">
                <a:solidFill>
                  <a:srgbClr val="57263B"/>
                </a:solidFill>
              </a:rPr>
              <a:t>Military Policy Optimisation</a:t>
            </a:r>
          </a:p>
          <a:p>
            <a:pPr algn="ctr"/>
            <a:endParaRPr lang="en-GB" sz="2000" b="1" i="1">
              <a:solidFill>
                <a:srgbClr val="57263B"/>
              </a:solidFill>
            </a:endParaRPr>
          </a:p>
          <a:p>
            <a:pPr algn="ctr"/>
            <a:r>
              <a:rPr lang="en-GB" sz="1600" b="1">
                <a:solidFill>
                  <a:srgbClr val="57263B"/>
                </a:solidFill>
              </a:rPr>
              <a:t>People Policy simplified, streamlined and reflecting the 21</a:t>
            </a:r>
            <a:r>
              <a:rPr lang="en-GB" sz="1600" b="1" baseline="30000">
                <a:solidFill>
                  <a:srgbClr val="57263B"/>
                </a:solidFill>
              </a:rPr>
              <a:t>st</a:t>
            </a:r>
            <a:r>
              <a:rPr lang="en-GB" sz="1600" b="1">
                <a:solidFill>
                  <a:srgbClr val="57263B"/>
                </a:solidFill>
              </a:rPr>
              <a:t> Century reality</a:t>
            </a:r>
            <a:endParaRPr lang="en-GB" b="1">
              <a:solidFill>
                <a:srgbClr val="57263B"/>
              </a:solidFill>
            </a:endParaRPr>
          </a:p>
        </p:txBody>
      </p:sp>
      <p:pic>
        <p:nvPicPr>
          <p:cNvPr id="24" name="Graphic 23" descr="Online meeting with solid fill">
            <a:extLst>
              <a:ext uri="{FF2B5EF4-FFF2-40B4-BE49-F238E27FC236}">
                <a16:creationId xmlns:a16="http://schemas.microsoft.com/office/drawing/2014/main" id="{661C2D3C-5DB5-AEBF-7810-6EB75C8816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93927" y="416860"/>
            <a:ext cx="914400" cy="914400"/>
          </a:xfrm>
          <a:prstGeom prst="rect">
            <a:avLst/>
          </a:prstGeom>
        </p:spPr>
      </p:pic>
      <p:pic>
        <p:nvPicPr>
          <p:cNvPr id="30" name="Graphic 29" descr="Route (Two Pins With A Path) with solid fill">
            <a:extLst>
              <a:ext uri="{FF2B5EF4-FFF2-40B4-BE49-F238E27FC236}">
                <a16:creationId xmlns:a16="http://schemas.microsoft.com/office/drawing/2014/main" id="{3CD758DD-0F1A-7C50-CCEC-EFAB1008F8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73395" y="365118"/>
            <a:ext cx="914400" cy="914400"/>
          </a:xfrm>
          <a:prstGeom prst="rect">
            <a:avLst/>
          </a:prstGeom>
        </p:spPr>
      </p:pic>
      <p:pic>
        <p:nvPicPr>
          <p:cNvPr id="5" name="Graphic 4" descr="Scroll with solid fill">
            <a:extLst>
              <a:ext uri="{FF2B5EF4-FFF2-40B4-BE49-F238E27FC236}">
                <a16:creationId xmlns:a16="http://schemas.microsoft.com/office/drawing/2014/main" id="{10D70ABE-04A4-3786-A8E0-09809820A8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54097" y="460551"/>
            <a:ext cx="914400" cy="914400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D3D11F69-C78F-ADDC-4C36-322D0D0D15EE}"/>
              </a:ext>
            </a:extLst>
          </p:cNvPr>
          <p:cNvGrpSpPr/>
          <p:nvPr/>
        </p:nvGrpSpPr>
        <p:grpSpPr>
          <a:xfrm>
            <a:off x="6213796" y="3742712"/>
            <a:ext cx="5486400" cy="1245600"/>
            <a:chOff x="557595" y="2873712"/>
            <a:chExt cx="5486400" cy="12456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F822CC5-160E-EEED-B2CF-14A15F1D97BA}"/>
                </a:ext>
              </a:extLst>
            </p:cNvPr>
            <p:cNvSpPr/>
            <p:nvPr/>
          </p:nvSpPr>
          <p:spPr>
            <a:xfrm>
              <a:off x="557595" y="2873712"/>
              <a:ext cx="5486400" cy="1245600"/>
            </a:xfrm>
            <a:prstGeom prst="rect">
              <a:avLst/>
            </a:prstGeom>
            <a:solidFill>
              <a:srgbClr val="57263B"/>
            </a:solidFill>
            <a:ln>
              <a:solidFill>
                <a:srgbClr val="57263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088053D-4847-619C-6F2B-75351EE32249}"/>
                </a:ext>
              </a:extLst>
            </p:cNvPr>
            <p:cNvSpPr/>
            <p:nvPr/>
          </p:nvSpPr>
          <p:spPr>
            <a:xfrm>
              <a:off x="695126" y="2998473"/>
              <a:ext cx="5173200" cy="1040400"/>
            </a:xfrm>
            <a:prstGeom prst="rect">
              <a:avLst/>
            </a:prstGeom>
            <a:solidFill>
              <a:srgbClr val="57263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1C3AA44-D506-CF92-ECB1-DDB136C52117}"/>
                </a:ext>
              </a:extLst>
            </p:cNvPr>
            <p:cNvSpPr/>
            <p:nvPr/>
          </p:nvSpPr>
          <p:spPr>
            <a:xfrm>
              <a:off x="695126" y="3011580"/>
              <a:ext cx="540000" cy="4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5C52857-3A28-0DF2-FEB6-A8FBC36DF39A}"/>
                </a:ext>
              </a:extLst>
            </p:cNvPr>
            <p:cNvSpPr txBox="1"/>
            <p:nvPr/>
          </p:nvSpPr>
          <p:spPr>
            <a:xfrm>
              <a:off x="1235126" y="3096775"/>
              <a:ext cx="21888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implification and Integration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2CFE1B1-C203-0364-4068-B2B7CDBB1CA1}"/>
                </a:ext>
              </a:extLst>
            </p:cNvPr>
            <p:cNvSpPr txBox="1"/>
            <p:nvPr/>
          </p:nvSpPr>
          <p:spPr>
            <a:xfrm>
              <a:off x="695126" y="3503618"/>
              <a:ext cx="517320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1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reamline processes and policies to reduce bureaucracy and enhance operational efficiency.</a:t>
              </a:r>
            </a:p>
          </p:txBody>
        </p:sp>
        <p:pic>
          <p:nvPicPr>
            <p:cNvPr id="25" name="Graphic 24" descr="Social network with solid fill">
              <a:extLst>
                <a:ext uri="{FF2B5EF4-FFF2-40B4-BE49-F238E27FC236}">
                  <a16:creationId xmlns:a16="http://schemas.microsoft.com/office/drawing/2014/main" id="{1CDD2712-8160-4555-8AAF-17540CCD1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49126" y="3011580"/>
              <a:ext cx="432000" cy="432000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3BB2108-CCF0-1BFF-035A-460F9707A426}"/>
              </a:ext>
            </a:extLst>
          </p:cNvPr>
          <p:cNvGrpSpPr/>
          <p:nvPr/>
        </p:nvGrpSpPr>
        <p:grpSpPr>
          <a:xfrm>
            <a:off x="433056" y="5056777"/>
            <a:ext cx="5486400" cy="1245600"/>
            <a:chOff x="557595" y="4814998"/>
            <a:chExt cx="5486400" cy="12456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AE1046B-2423-BFA3-622D-FAC65CEF17A6}"/>
                </a:ext>
              </a:extLst>
            </p:cNvPr>
            <p:cNvSpPr/>
            <p:nvPr/>
          </p:nvSpPr>
          <p:spPr>
            <a:xfrm>
              <a:off x="557595" y="4814998"/>
              <a:ext cx="5486400" cy="1245600"/>
            </a:xfrm>
            <a:prstGeom prst="rect">
              <a:avLst/>
            </a:prstGeom>
            <a:solidFill>
              <a:srgbClr val="57263B"/>
            </a:solidFill>
            <a:ln>
              <a:solidFill>
                <a:srgbClr val="57263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76BF97D-FA1A-9A20-D580-67F384CB0A57}"/>
                </a:ext>
              </a:extLst>
            </p:cNvPr>
            <p:cNvSpPr/>
            <p:nvPr/>
          </p:nvSpPr>
          <p:spPr>
            <a:xfrm>
              <a:off x="695126" y="4917598"/>
              <a:ext cx="5173200" cy="1040400"/>
            </a:xfrm>
            <a:prstGeom prst="rect">
              <a:avLst/>
            </a:prstGeom>
            <a:solidFill>
              <a:srgbClr val="57263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AAA258D-BC7F-9171-72CD-C2440BFBD1A0}"/>
                </a:ext>
              </a:extLst>
            </p:cNvPr>
            <p:cNvSpPr/>
            <p:nvPr/>
          </p:nvSpPr>
          <p:spPr>
            <a:xfrm>
              <a:off x="695126" y="4917598"/>
              <a:ext cx="540000" cy="4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E4D8115-06CB-836A-C914-967ABFD3D8D2}"/>
                </a:ext>
              </a:extLst>
            </p:cNvPr>
            <p:cNvSpPr txBox="1"/>
            <p:nvPr/>
          </p:nvSpPr>
          <p:spPr>
            <a:xfrm>
              <a:off x="1235126" y="5020198"/>
              <a:ext cx="21888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mpowerment and Trust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E8E241D-5081-9CD2-A9D3-150D7002C615}"/>
                </a:ext>
              </a:extLst>
            </p:cNvPr>
            <p:cNvSpPr txBox="1"/>
            <p:nvPr/>
          </p:nvSpPr>
          <p:spPr>
            <a:xfrm>
              <a:off x="695126" y="5460434"/>
              <a:ext cx="517320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1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oster a culture of empowerment, allowing leaders to operate within defined boundaries while trusting personnel to follow simplified processes.</a:t>
              </a:r>
            </a:p>
          </p:txBody>
        </p:sp>
        <p:pic>
          <p:nvPicPr>
            <p:cNvPr id="32" name="Graphic 31" descr="Target Audience with solid fill">
              <a:extLst>
                <a:ext uri="{FF2B5EF4-FFF2-40B4-BE49-F238E27FC236}">
                  <a16:creationId xmlns:a16="http://schemas.microsoft.com/office/drawing/2014/main" id="{BF470CCF-DEC3-4642-58F0-4280168E79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49126" y="4917598"/>
              <a:ext cx="432000" cy="432000"/>
            </a:xfrm>
            <a:prstGeom prst="rect">
              <a:avLst/>
            </a:prstGeom>
          </p:spPr>
        </p:pic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D12AF2AE-9108-4FCF-7191-78288BC02A0A}"/>
              </a:ext>
            </a:extLst>
          </p:cNvPr>
          <p:cNvGrpSpPr/>
          <p:nvPr/>
        </p:nvGrpSpPr>
        <p:grpSpPr>
          <a:xfrm>
            <a:off x="6213796" y="5067543"/>
            <a:ext cx="5486400" cy="1245600"/>
            <a:chOff x="6489407" y="1677274"/>
            <a:chExt cx="5486400" cy="1245600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6007ECA-B9D6-5D84-4580-957F5C0C2BC2}"/>
                </a:ext>
              </a:extLst>
            </p:cNvPr>
            <p:cNvSpPr/>
            <p:nvPr/>
          </p:nvSpPr>
          <p:spPr>
            <a:xfrm>
              <a:off x="6489407" y="1677274"/>
              <a:ext cx="5486400" cy="1245600"/>
            </a:xfrm>
            <a:prstGeom prst="rect">
              <a:avLst/>
            </a:prstGeom>
            <a:solidFill>
              <a:srgbClr val="57263B"/>
            </a:solidFill>
            <a:ln>
              <a:solidFill>
                <a:srgbClr val="57263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EF74EAA-1D1F-108B-B544-E3625C82CF74}"/>
                </a:ext>
              </a:extLst>
            </p:cNvPr>
            <p:cNvSpPr/>
            <p:nvPr/>
          </p:nvSpPr>
          <p:spPr>
            <a:xfrm>
              <a:off x="6626938" y="1802035"/>
              <a:ext cx="5173200" cy="1040400"/>
            </a:xfrm>
            <a:prstGeom prst="rect">
              <a:avLst/>
            </a:prstGeom>
            <a:solidFill>
              <a:srgbClr val="57263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8BC40DE-7D6E-AA41-B37B-6964ED07119F}"/>
                </a:ext>
              </a:extLst>
            </p:cNvPr>
            <p:cNvSpPr/>
            <p:nvPr/>
          </p:nvSpPr>
          <p:spPr>
            <a:xfrm>
              <a:off x="6626938" y="1809758"/>
              <a:ext cx="540000" cy="4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6122A19-21C6-5414-C3CA-9489B1613259}"/>
                </a:ext>
              </a:extLst>
            </p:cNvPr>
            <p:cNvSpPr txBox="1"/>
            <p:nvPr/>
          </p:nvSpPr>
          <p:spPr>
            <a:xfrm>
              <a:off x="7166938" y="1887230"/>
              <a:ext cx="21888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ata-Driven Decision Making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F2363A0-9260-1B96-7959-C568821934C9}"/>
                </a:ext>
              </a:extLst>
            </p:cNvPr>
            <p:cNvSpPr txBox="1"/>
            <p:nvPr/>
          </p:nvSpPr>
          <p:spPr>
            <a:xfrm>
              <a:off x="6626938" y="2380409"/>
              <a:ext cx="517320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1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mbed strategic workforce insights and analytics to facilitate proactive, evidence-based decisions.</a:t>
              </a:r>
            </a:p>
          </p:txBody>
        </p:sp>
        <p:pic>
          <p:nvPicPr>
            <p:cNvPr id="39" name="Graphic 38" descr="Bar chart with solid fill">
              <a:extLst>
                <a:ext uri="{FF2B5EF4-FFF2-40B4-BE49-F238E27FC236}">
                  <a16:creationId xmlns:a16="http://schemas.microsoft.com/office/drawing/2014/main" id="{B2ADDC4D-85D6-83FE-324E-5E178E2820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680938" y="1809758"/>
              <a:ext cx="432000" cy="432000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093EFD4E-9A63-DDE9-7DAF-53CC9244EFAE}"/>
              </a:ext>
            </a:extLst>
          </p:cNvPr>
          <p:cNvGrpSpPr/>
          <p:nvPr/>
        </p:nvGrpSpPr>
        <p:grpSpPr>
          <a:xfrm>
            <a:off x="426234" y="3742454"/>
            <a:ext cx="5485251" cy="1245858"/>
            <a:chOff x="557594" y="1075548"/>
            <a:chExt cx="5485251" cy="1245858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A1A145E-381B-49A3-433D-F3C693BD0443}"/>
                </a:ext>
              </a:extLst>
            </p:cNvPr>
            <p:cNvSpPr/>
            <p:nvPr/>
          </p:nvSpPr>
          <p:spPr>
            <a:xfrm>
              <a:off x="557594" y="1075548"/>
              <a:ext cx="5485251" cy="1245858"/>
            </a:xfrm>
            <a:prstGeom prst="rect">
              <a:avLst/>
            </a:prstGeom>
            <a:solidFill>
              <a:srgbClr val="57263B"/>
            </a:solidFill>
            <a:ln>
              <a:solidFill>
                <a:srgbClr val="57263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5081BAE-E19D-9F18-729D-7A76B7BB026F}"/>
                </a:ext>
              </a:extLst>
            </p:cNvPr>
            <p:cNvSpPr/>
            <p:nvPr/>
          </p:nvSpPr>
          <p:spPr>
            <a:xfrm>
              <a:off x="695126" y="1200309"/>
              <a:ext cx="5172932" cy="1041450"/>
            </a:xfrm>
            <a:prstGeom prst="rect">
              <a:avLst/>
            </a:prstGeom>
            <a:solidFill>
              <a:srgbClr val="57263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BD85D43-0A88-2194-ECC4-56771BE84252}"/>
                </a:ext>
              </a:extLst>
            </p:cNvPr>
            <p:cNvSpPr/>
            <p:nvPr/>
          </p:nvSpPr>
          <p:spPr>
            <a:xfrm>
              <a:off x="695126" y="1208031"/>
              <a:ext cx="540000" cy="4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B52B841-A276-635E-93D1-EE24C3C7CCDA}"/>
                </a:ext>
              </a:extLst>
            </p:cNvPr>
            <p:cNvSpPr txBox="1"/>
            <p:nvPr/>
          </p:nvSpPr>
          <p:spPr>
            <a:xfrm>
              <a:off x="1235126" y="1293226"/>
              <a:ext cx="21888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rategic Enabler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4A4BA08-16DD-8CB6-6E55-6E8F67FCB8AB}"/>
                </a:ext>
              </a:extLst>
            </p:cNvPr>
            <p:cNvSpPr txBox="1"/>
            <p:nvPr/>
          </p:nvSpPr>
          <p:spPr>
            <a:xfrm>
              <a:off x="695126" y="1691604"/>
              <a:ext cx="517293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1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e People Function will serve all Areas of Defence, setting and maintaining HR professional standards to ensure a coherent and high-quality HR capability.</a:t>
              </a:r>
            </a:p>
          </p:txBody>
        </p:sp>
        <p:pic>
          <p:nvPicPr>
            <p:cNvPr id="45" name="Graphic 44" descr="Chess pieces with solid fill">
              <a:extLst>
                <a:ext uri="{FF2B5EF4-FFF2-40B4-BE49-F238E27FC236}">
                  <a16:creationId xmlns:a16="http://schemas.microsoft.com/office/drawing/2014/main" id="{F6992971-BAAD-931C-5DF2-73DD39CFF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49126" y="1208031"/>
              <a:ext cx="432000" cy="43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9661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67DFC0-2625-1DF7-EE25-F4B0355FC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D21F137-8917-10F7-E4A0-2D5660E33406}"/>
              </a:ext>
            </a:extLst>
          </p:cNvPr>
          <p:cNvSpPr txBox="1">
            <a:spLocks/>
          </p:cNvSpPr>
          <p:nvPr/>
        </p:nvSpPr>
        <p:spPr>
          <a:xfrm>
            <a:off x="702600" y="405528"/>
            <a:ext cx="10873877" cy="65524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84" name="Rectangle: Rounded Corners 8">
            <a:extLst>
              <a:ext uri="{FF2B5EF4-FFF2-40B4-BE49-F238E27FC236}">
                <a16:creationId xmlns:a16="http://schemas.microsoft.com/office/drawing/2014/main" id="{6B0E0E40-7894-1710-5176-68BAF8C78ED7}"/>
              </a:ext>
            </a:extLst>
          </p:cNvPr>
          <p:cNvSpPr/>
          <p:nvPr/>
        </p:nvSpPr>
        <p:spPr>
          <a:xfrm>
            <a:off x="3137621" y="70264"/>
            <a:ext cx="8947902" cy="130428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57263B"/>
          </a:solidFill>
          <a:ln w="57150" cap="flat">
            <a:solidFill>
              <a:srgbClr val="C9D0D7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r>
              <a:rPr lang="en-GB" sz="3600" b="1">
                <a:solidFill>
                  <a:schemeClr val="bg1"/>
                </a:solidFill>
                <a:cs typeface="Arial"/>
              </a:rPr>
              <a:t>Def HR Service</a:t>
            </a:r>
          </a:p>
        </p:txBody>
      </p:sp>
      <p:sp>
        <p:nvSpPr>
          <p:cNvPr id="193" name="TextBox 26">
            <a:extLst>
              <a:ext uri="{FF2B5EF4-FFF2-40B4-BE49-F238E27FC236}">
                <a16:creationId xmlns:a16="http://schemas.microsoft.com/office/drawing/2014/main" id="{5FF41E7C-24DD-37C6-30DC-0F68A6333337}"/>
              </a:ext>
            </a:extLst>
          </p:cNvPr>
          <p:cNvSpPr txBox="1"/>
          <p:nvPr/>
        </p:nvSpPr>
        <p:spPr>
          <a:xfrm>
            <a:off x="4067317" y="1971410"/>
            <a:ext cx="7509160" cy="310854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r>
              <a:rPr lang="en-GB" sz="2800" i="1">
                <a:latin typeface="Aptos" panose="020B0004020202020204" pitchFamily="34" charset="0"/>
              </a:rPr>
              <a:t>‘If we genuinely believe that data is a strategic asset, then skills data must be treated as mission-critical.</a:t>
            </a:r>
          </a:p>
          <a:p>
            <a:r>
              <a:rPr lang="en-GB" sz="2800" i="1">
                <a:latin typeface="Aptos" panose="020B0004020202020204" pitchFamily="34" charset="0"/>
              </a:rPr>
              <a:t> </a:t>
            </a:r>
          </a:p>
          <a:p>
            <a:r>
              <a:rPr lang="en-GB" sz="2800" i="1">
                <a:latin typeface="Aptos" panose="020B0004020202020204" pitchFamily="34" charset="0"/>
              </a:rPr>
              <a:t>Defence HRS is not the answer to every problem. But it is the platform that finally allows us to ask better questions about our workforce’.</a:t>
            </a:r>
          </a:p>
        </p:txBody>
      </p:sp>
      <p:sp>
        <p:nvSpPr>
          <p:cNvPr id="204" name="Title 3">
            <a:extLst>
              <a:ext uri="{FF2B5EF4-FFF2-40B4-BE49-F238E27FC236}">
                <a16:creationId xmlns:a16="http://schemas.microsoft.com/office/drawing/2014/main" id="{65870909-F814-D272-F6BC-A8D09FF252F7}"/>
              </a:ext>
            </a:extLst>
          </p:cNvPr>
          <p:cNvSpPr txBox="1">
            <a:spLocks/>
          </p:cNvSpPr>
          <p:nvPr/>
        </p:nvSpPr>
        <p:spPr>
          <a:xfrm>
            <a:off x="279084" y="1198421"/>
            <a:ext cx="3480434" cy="44611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itchFamily="34"/>
                <a:ea typeface="+mj-ea"/>
                <a:cs typeface="+mj-cs"/>
              </a:rPr>
              <a:t>Corporate Services Modernisation is critical to Defence</a:t>
            </a:r>
          </a:p>
        </p:txBody>
      </p:sp>
      <p:sp>
        <p:nvSpPr>
          <p:cNvPr id="206" name="Flowchart: Delay 205">
            <a:extLst>
              <a:ext uri="{FF2B5EF4-FFF2-40B4-BE49-F238E27FC236}">
                <a16:creationId xmlns:a16="http://schemas.microsoft.com/office/drawing/2014/main" id="{BE69114B-14DB-1033-8441-2709F1A20B3B}"/>
              </a:ext>
            </a:extLst>
          </p:cNvPr>
          <p:cNvSpPr/>
          <p:nvPr/>
        </p:nvSpPr>
        <p:spPr>
          <a:xfrm>
            <a:off x="0" y="9706"/>
            <a:ext cx="3654455" cy="6452472"/>
          </a:xfrm>
          <a:prstGeom prst="flowChartDelay">
            <a:avLst/>
          </a:prstGeom>
          <a:solidFill>
            <a:srgbClr val="57263B"/>
          </a:solidFill>
          <a:ln w="57150">
            <a:solidFill>
              <a:srgbClr val="57263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D56912-0A47-0E61-9623-4B39291A535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01B2B2-3B32-4177-9645-58C2813D6A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5BE8D1D-964C-D0D1-FF4F-CFE1FEE108FF}"/>
              </a:ext>
            </a:extLst>
          </p:cNvPr>
          <p:cNvCxnSpPr/>
          <p:nvPr/>
        </p:nvCxnSpPr>
        <p:spPr>
          <a:xfrm>
            <a:off x="-2" y="6426000"/>
            <a:ext cx="12192002" cy="0"/>
          </a:xfrm>
          <a:prstGeom prst="line">
            <a:avLst/>
          </a:prstGeom>
          <a:ln w="139700">
            <a:solidFill>
              <a:srgbClr val="532A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B259770B-7596-F17D-4C8E-232173491ACA}"/>
              </a:ext>
            </a:extLst>
          </p:cNvPr>
          <p:cNvSpPr txBox="1"/>
          <p:nvPr/>
        </p:nvSpPr>
        <p:spPr>
          <a:xfrm>
            <a:off x="268415" y="1765075"/>
            <a:ext cx="2861272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Leveraging data-driven insights to build a modern, agile, and adaptable defence workforce</a:t>
            </a:r>
          </a:p>
          <a:p>
            <a:endParaRPr lang="en-GB" sz="2000" b="1">
              <a:solidFill>
                <a:schemeClr val="bg1"/>
              </a:solidFill>
              <a:latin typeface="Arial"/>
              <a:cs typeface="Arial"/>
            </a:endParaRPr>
          </a:p>
          <a:p>
            <a:r>
              <a:rPr lang="en-GB" sz="2000" b="1">
                <a:solidFill>
                  <a:schemeClr val="bg1"/>
                </a:solidFill>
                <a:latin typeface="Arial"/>
                <a:cs typeface="Arial"/>
              </a:rPr>
              <a:t>Integrating digital tools and HR systems to enhance efficiency and operational readiness</a:t>
            </a:r>
          </a:p>
        </p:txBody>
      </p:sp>
    </p:spTree>
    <p:extLst>
      <p:ext uri="{BB962C8B-B14F-4D97-AF65-F5344CB8AC3E}">
        <p14:creationId xmlns:p14="http://schemas.microsoft.com/office/powerpoint/2010/main" val="23928096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Britain needs 'up to a decade' to modernise its army | The National">
            <a:extLst>
              <a:ext uri="{FF2B5EF4-FFF2-40B4-BE49-F238E27FC236}">
                <a16:creationId xmlns:a16="http://schemas.microsoft.com/office/drawing/2014/main" id="{481FBABE-897D-2CB9-9104-2111C5C63A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30"/>
          <a:stretch>
            <a:fillRect/>
          </a:stretch>
        </p:blipFill>
        <p:spPr bwMode="auto">
          <a:xfrm>
            <a:off x="20" y="10"/>
            <a:ext cx="12191980" cy="685799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FCE326-FB16-6391-58AA-7DB984A7BA19}"/>
              </a:ext>
            </a:extLst>
          </p:cNvPr>
          <p:cNvSpPr txBox="1"/>
          <p:nvPr/>
        </p:nvSpPr>
        <p:spPr>
          <a:xfrm>
            <a:off x="2660650" y="5765284"/>
            <a:ext cx="78867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b="1">
                <a:solidFill>
                  <a:schemeClr val="bg1"/>
                </a:solidFill>
              </a:rPr>
              <a:t>Questions &amp; Discussion</a:t>
            </a:r>
          </a:p>
        </p:txBody>
      </p:sp>
    </p:spTree>
    <p:extLst>
      <p:ext uri="{BB962C8B-B14F-4D97-AF65-F5344CB8AC3E}">
        <p14:creationId xmlns:p14="http://schemas.microsoft.com/office/powerpoint/2010/main" val="23891829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2_5. Guidance slides">
  <a:themeElements>
    <a:clrScheme name="MoD - Dark Blue">
      <a:dk1>
        <a:srgbClr val="071D49"/>
      </a:dk1>
      <a:lt1>
        <a:sysClr val="window" lastClr="FFFFFF"/>
      </a:lt1>
      <a:dk2>
        <a:srgbClr val="071D49"/>
      </a:dk2>
      <a:lt2>
        <a:srgbClr val="E7E6E6"/>
      </a:lt2>
      <a:accent1>
        <a:srgbClr val="3F6578"/>
      </a:accent1>
      <a:accent2>
        <a:srgbClr val="33466E"/>
      </a:accent2>
      <a:accent3>
        <a:srgbClr val="186169"/>
      </a:accent3>
      <a:accent4>
        <a:srgbClr val="FFC845"/>
      </a:accent4>
      <a:accent5>
        <a:srgbClr val="FF9800"/>
      </a:accent5>
      <a:accent6>
        <a:srgbClr val="EE7591"/>
      </a:accent6>
      <a:hlink>
        <a:srgbClr val="3F6578"/>
      </a:hlink>
      <a:folHlink>
        <a:srgbClr val="3F657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6.6102_MoD_Ppt_template_BASIC_DRAFT_300120.potx" id="{72F7D304-36F3-43BD-9080-8458A8781AA6}" vid="{56F72EA6-9B3E-4D08-B3DE-E9F177969C9F}"/>
    </a:ext>
  </a:extLst>
</a:theme>
</file>

<file path=ppt/theme/theme3.xml><?xml version="1.0" encoding="utf-8"?>
<a:theme xmlns:a="http://schemas.openxmlformats.org/drawingml/2006/main" name="3_5. Guidance slides">
  <a:themeElements>
    <a:clrScheme name="MoD - Dark Blue">
      <a:dk1>
        <a:srgbClr val="071D49"/>
      </a:dk1>
      <a:lt1>
        <a:sysClr val="window" lastClr="FFFFFF"/>
      </a:lt1>
      <a:dk2>
        <a:srgbClr val="071D49"/>
      </a:dk2>
      <a:lt2>
        <a:srgbClr val="E7E6E6"/>
      </a:lt2>
      <a:accent1>
        <a:srgbClr val="3F6578"/>
      </a:accent1>
      <a:accent2>
        <a:srgbClr val="33466E"/>
      </a:accent2>
      <a:accent3>
        <a:srgbClr val="186169"/>
      </a:accent3>
      <a:accent4>
        <a:srgbClr val="FFC845"/>
      </a:accent4>
      <a:accent5>
        <a:srgbClr val="FF9800"/>
      </a:accent5>
      <a:accent6>
        <a:srgbClr val="EE7591"/>
      </a:accent6>
      <a:hlink>
        <a:srgbClr val="3F6578"/>
      </a:hlink>
      <a:folHlink>
        <a:srgbClr val="3F657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6.6102_MoD_Ppt_template_BASIC_DRAFT_300120.potx" id="{72F7D304-36F3-43BD-9080-8458A8781AA6}" vid="{56F72EA6-9B3E-4D08-B3DE-E9F177969C9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9047302E3BBDB478C4E050449D8D218" ma:contentTypeVersion="17" ma:contentTypeDescription="Create a new document." ma:contentTypeScope="" ma:versionID="f99f0c45262e435314a37e1c7df5a531">
  <xsd:schema xmlns:xsd="http://www.w3.org/2001/XMLSchema" xmlns:xs="http://www.w3.org/2001/XMLSchema" xmlns:p="http://schemas.microsoft.com/office/2006/metadata/properties" xmlns:ns3="96e6118b-7dec-4d3c-9221-fe19a99a00a0" xmlns:ns4="5f265b28-0f82-437b-91c3-80b170d4e2da" targetNamespace="http://schemas.microsoft.com/office/2006/metadata/properties" ma:root="true" ma:fieldsID="83c95dd9a6b52ec61fc0f59d822d07d9" ns3:_="" ns4:_="">
    <xsd:import namespace="96e6118b-7dec-4d3c-9221-fe19a99a00a0"/>
    <xsd:import namespace="5f265b28-0f82-437b-91c3-80b170d4e2d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bjectDetectorVersions" minOccurs="0"/>
                <xsd:element ref="ns3:MediaServiceSystemTags" minOccurs="0"/>
                <xsd:element ref="ns3:_activity" minOccurs="0"/>
                <xsd:element ref="ns3:MediaServiceSearchPropertie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6118b-7dec-4d3c-9221-fe19a99a00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265b28-0f82-437b-91c3-80b170d4e2d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6e6118b-7dec-4d3c-9221-fe19a99a00a0" xsi:nil="true"/>
  </documentManagement>
</p:properties>
</file>

<file path=customXml/itemProps1.xml><?xml version="1.0" encoding="utf-8"?>
<ds:datastoreItem xmlns:ds="http://schemas.openxmlformats.org/officeDocument/2006/customXml" ds:itemID="{83CB8D06-887F-489E-AEB4-4A298265F105}">
  <ds:schemaRefs>
    <ds:schemaRef ds:uri="5f265b28-0f82-437b-91c3-80b170d4e2da"/>
    <ds:schemaRef ds:uri="96e6118b-7dec-4d3c-9221-fe19a99a00a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E82D2B7-859A-4610-A055-3EDB98DEA65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61C3C8F-F79E-4348-A20B-97EAD7481687}">
  <ds:schemaRefs>
    <ds:schemaRef ds:uri="5f265b28-0f82-437b-91c3-80b170d4e2da"/>
    <ds:schemaRef ds:uri="96e6118b-7dec-4d3c-9221-fe19a99a00a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71</Words>
  <Application>Microsoft Office PowerPoint</Application>
  <PresentationFormat>Widescreen</PresentationFormat>
  <Paragraphs>98</Paragraphs>
  <Slides>9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ptos</vt:lpstr>
      <vt:lpstr>Aptos Display</vt:lpstr>
      <vt:lpstr>Arial</vt:lpstr>
      <vt:lpstr>Arial Black</vt:lpstr>
      <vt:lpstr>Calibri</vt:lpstr>
      <vt:lpstr>1_Office Theme</vt:lpstr>
      <vt:lpstr>2_5. Guidance slides</vt:lpstr>
      <vt:lpstr>3_5. Guidance slid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aggs, Lizzie CON (People-Strat-PFOM-Con2)</dc:creator>
  <cp:lastModifiedBy>Pyman, Christopher Maj (People-Tx-Transformation SO2)</cp:lastModifiedBy>
  <cp:revision>1</cp:revision>
  <cp:lastPrinted>2025-09-23T12:47:21Z</cp:lastPrinted>
  <dcterms:created xsi:type="dcterms:W3CDTF">2025-09-09T13:33:11Z</dcterms:created>
  <dcterms:modified xsi:type="dcterms:W3CDTF">2026-01-26T20:13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047302E3BBDB478C4E050449D8D218</vt:lpwstr>
  </property>
  <property fmtid="{D5CDD505-2E9C-101B-9397-08002B2CF9AE}" pid="3" name="MediaServiceImageTags">
    <vt:lpwstr/>
  </property>
  <property fmtid="{D5CDD505-2E9C-101B-9397-08002B2CF9AE}" pid="4" name="MSIP_Label_d8a60473-494b-4586-a1bb-b0e663054676_Enabled">
    <vt:lpwstr>true</vt:lpwstr>
  </property>
  <property fmtid="{D5CDD505-2E9C-101B-9397-08002B2CF9AE}" pid="5" name="MSIP_Label_d8a60473-494b-4586-a1bb-b0e663054676_SetDate">
    <vt:lpwstr>2026-01-13T20:56:35Z</vt:lpwstr>
  </property>
  <property fmtid="{D5CDD505-2E9C-101B-9397-08002B2CF9AE}" pid="6" name="MSIP_Label_d8a60473-494b-4586-a1bb-b0e663054676_Method">
    <vt:lpwstr>Privileged</vt:lpwstr>
  </property>
  <property fmtid="{D5CDD505-2E9C-101B-9397-08002B2CF9AE}" pid="7" name="MSIP_Label_d8a60473-494b-4586-a1bb-b0e663054676_Name">
    <vt:lpwstr>MOD-1-O-‘UNMARKED’</vt:lpwstr>
  </property>
  <property fmtid="{D5CDD505-2E9C-101B-9397-08002B2CF9AE}" pid="8" name="MSIP_Label_d8a60473-494b-4586-a1bb-b0e663054676_SiteId">
    <vt:lpwstr>be7760ed-5953-484b-ae95-d0a16dfa09e5</vt:lpwstr>
  </property>
  <property fmtid="{D5CDD505-2E9C-101B-9397-08002B2CF9AE}" pid="9" name="MSIP_Label_d8a60473-494b-4586-a1bb-b0e663054676_ActionId">
    <vt:lpwstr>0df16220-e209-4731-a667-eedae2063480</vt:lpwstr>
  </property>
  <property fmtid="{D5CDD505-2E9C-101B-9397-08002B2CF9AE}" pid="10" name="MSIP_Label_d8a60473-494b-4586-a1bb-b0e663054676_ContentBits">
    <vt:lpwstr>0</vt:lpwstr>
  </property>
  <property fmtid="{D5CDD505-2E9C-101B-9397-08002B2CF9AE}" pid="11" name="MSIP_Label_d8a60473-494b-4586-a1bb-b0e663054676_Tag">
    <vt:lpwstr>10, 0, 1, 1</vt:lpwstr>
  </property>
</Properties>
</file>